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4"/>
  </p:notesMasterIdLst>
  <p:sldIdLst>
    <p:sldId id="283" r:id="rId5"/>
    <p:sldId id="925" r:id="rId6"/>
    <p:sldId id="295" r:id="rId7"/>
    <p:sldId id="257" r:id="rId8"/>
    <p:sldId id="259" r:id="rId9"/>
    <p:sldId id="926" r:id="rId10"/>
    <p:sldId id="265" r:id="rId11"/>
    <p:sldId id="287" r:id="rId12"/>
    <p:sldId id="275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300B"/>
    <a:srgbClr val="FF610F"/>
    <a:srgbClr val="171717"/>
    <a:srgbClr val="05BFE0"/>
    <a:srgbClr val="4F17A8"/>
    <a:srgbClr val="2B008C"/>
    <a:srgbClr val="8A66C4"/>
    <a:srgbClr val="C4B2E3"/>
    <a:srgbClr val="E5DCF2"/>
    <a:srgbClr val="0080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558"/>
  </p:normalViewPr>
  <p:slideViewPr>
    <p:cSldViewPr snapToGrid="0" snapToObjects="1">
      <p:cViewPr varScale="1">
        <p:scale>
          <a:sx n="63" d="100"/>
          <a:sy n="63" d="100"/>
        </p:scale>
        <p:origin x="804" y="5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96" d="100"/>
        <a:sy n="9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13987C-8BE7-934C-B1ED-966EA1B50DA6}" type="datetimeFigureOut">
              <a:rPr lang="en-US" smtClean="0"/>
              <a:t>7/2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B737FC-9382-F947-AADD-FA4FB46597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6246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8BB250-E466-4CB7-BEAA-33A8BA048DF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53655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image" Target="../media/image25.emf"/><Relationship Id="rId7" Type="http://schemas.openxmlformats.org/officeDocument/2006/relationships/image" Target="../media/image23.emf"/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8.emf"/><Relationship Id="rId5" Type="http://schemas.openxmlformats.org/officeDocument/2006/relationships/image" Target="../media/image27.emf"/><Relationship Id="rId10" Type="http://schemas.openxmlformats.org/officeDocument/2006/relationships/image" Target="../media/image22.png"/><Relationship Id="rId4" Type="http://schemas.openxmlformats.org/officeDocument/2006/relationships/image" Target="../media/image26.emf"/><Relationship Id="rId9" Type="http://schemas.openxmlformats.org/officeDocument/2006/relationships/image" Target="../media/image21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openxmlformats.org/officeDocument/2006/relationships/image" Target="../media/image13.emf"/><Relationship Id="rId18" Type="http://schemas.openxmlformats.org/officeDocument/2006/relationships/image" Target="../media/image18.emf"/><Relationship Id="rId3" Type="http://schemas.openxmlformats.org/officeDocument/2006/relationships/image" Target="../media/image3.emf"/><Relationship Id="rId7" Type="http://schemas.openxmlformats.org/officeDocument/2006/relationships/image" Target="../media/image7.emf"/><Relationship Id="rId12" Type="http://schemas.openxmlformats.org/officeDocument/2006/relationships/image" Target="../media/image12.emf"/><Relationship Id="rId17" Type="http://schemas.openxmlformats.org/officeDocument/2006/relationships/image" Target="../media/image17.emf"/><Relationship Id="rId2" Type="http://schemas.openxmlformats.org/officeDocument/2006/relationships/image" Target="../media/image2.emf"/><Relationship Id="rId16" Type="http://schemas.openxmlformats.org/officeDocument/2006/relationships/image" Target="../media/image16.emf"/><Relationship Id="rId20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emf"/><Relationship Id="rId11" Type="http://schemas.openxmlformats.org/officeDocument/2006/relationships/image" Target="../media/image11.emf"/><Relationship Id="rId5" Type="http://schemas.openxmlformats.org/officeDocument/2006/relationships/image" Target="../media/image5.emf"/><Relationship Id="rId15" Type="http://schemas.openxmlformats.org/officeDocument/2006/relationships/image" Target="../media/image15.emf"/><Relationship Id="rId10" Type="http://schemas.openxmlformats.org/officeDocument/2006/relationships/image" Target="../media/image10.emf"/><Relationship Id="rId19" Type="http://schemas.openxmlformats.org/officeDocument/2006/relationships/image" Target="../media/image19.emf"/><Relationship Id="rId4" Type="http://schemas.openxmlformats.org/officeDocument/2006/relationships/image" Target="../media/image4.emf"/><Relationship Id="rId9" Type="http://schemas.openxmlformats.org/officeDocument/2006/relationships/image" Target="../media/image9.emf"/><Relationship Id="rId14" Type="http://schemas.openxmlformats.org/officeDocument/2006/relationships/image" Target="../media/image14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image" Target="../media/image25.emf"/><Relationship Id="rId7" Type="http://schemas.openxmlformats.org/officeDocument/2006/relationships/image" Target="../media/image31.emf"/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emf"/><Relationship Id="rId5" Type="http://schemas.openxmlformats.org/officeDocument/2006/relationships/image" Target="../media/image27.emf"/><Relationship Id="rId10" Type="http://schemas.openxmlformats.org/officeDocument/2006/relationships/image" Target="../media/image22.png"/><Relationship Id="rId4" Type="http://schemas.openxmlformats.org/officeDocument/2006/relationships/image" Target="../media/image26.emf"/><Relationship Id="rId9" Type="http://schemas.openxmlformats.org/officeDocument/2006/relationships/image" Target="../media/image21.emf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image" Target="../media/image24.emf"/><Relationship Id="rId7" Type="http://schemas.openxmlformats.org/officeDocument/2006/relationships/image" Target="../media/image23.emf"/><Relationship Id="rId2" Type="http://schemas.openxmlformats.org/officeDocument/2006/relationships/image" Target="../media/image32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8.emf"/><Relationship Id="rId11" Type="http://schemas.openxmlformats.org/officeDocument/2006/relationships/image" Target="../media/image20.png"/><Relationship Id="rId5" Type="http://schemas.openxmlformats.org/officeDocument/2006/relationships/image" Target="../media/image21.emf"/><Relationship Id="rId10" Type="http://schemas.openxmlformats.org/officeDocument/2006/relationships/image" Target="../media/image27.emf"/><Relationship Id="rId4" Type="http://schemas.openxmlformats.org/officeDocument/2006/relationships/image" Target="../media/image25.emf"/><Relationship Id="rId9" Type="http://schemas.openxmlformats.org/officeDocument/2006/relationships/image" Target="../media/image26.emf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34.emf"/><Relationship Id="rId4" Type="http://schemas.openxmlformats.org/officeDocument/2006/relationships/oleObject" Target="../embeddings/oleObject1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35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image" Target="../media/image25.emf"/><Relationship Id="rId7" Type="http://schemas.openxmlformats.org/officeDocument/2006/relationships/image" Target="../media/image28.emf"/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7.emf"/><Relationship Id="rId5" Type="http://schemas.openxmlformats.org/officeDocument/2006/relationships/image" Target="../media/image21.emf"/><Relationship Id="rId10" Type="http://schemas.openxmlformats.org/officeDocument/2006/relationships/image" Target="../media/image22.png"/><Relationship Id="rId4" Type="http://schemas.openxmlformats.org/officeDocument/2006/relationships/image" Target="../media/image26.emf"/><Relationship Id="rId9" Type="http://schemas.openxmlformats.org/officeDocument/2006/relationships/image" Target="../media/image8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6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image" Target="../media/image25.emf"/><Relationship Id="rId7" Type="http://schemas.openxmlformats.org/officeDocument/2006/relationships/image" Target="../media/image28.emf"/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7.emf"/><Relationship Id="rId5" Type="http://schemas.openxmlformats.org/officeDocument/2006/relationships/image" Target="../media/image21.emf"/><Relationship Id="rId10" Type="http://schemas.openxmlformats.org/officeDocument/2006/relationships/image" Target="../media/image22.png"/><Relationship Id="rId4" Type="http://schemas.openxmlformats.org/officeDocument/2006/relationships/image" Target="../media/image26.emf"/><Relationship Id="rId9" Type="http://schemas.openxmlformats.org/officeDocument/2006/relationships/image" Target="../media/image8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4326" y="1734906"/>
            <a:ext cx="3760788" cy="1719262"/>
          </a:xfrm>
        </p:spPr>
        <p:txBody>
          <a:bodyPr anchor="b"/>
          <a:lstStyle>
            <a:lvl1pPr>
              <a:lnSpc>
                <a:spcPts val="3200"/>
              </a:lnSpc>
              <a:defRPr sz="2800" cap="all" baseline="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4326" y="3608388"/>
            <a:ext cx="3760788" cy="473075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Presentation sub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DB4343E-05BA-9F40-A6AA-424EEF5104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4325" y="5603875"/>
            <a:ext cx="3760788" cy="431800"/>
          </a:xfrm>
        </p:spPr>
        <p:txBody>
          <a:bodyPr>
            <a:noAutofit/>
          </a:bodyPr>
          <a:lstStyle>
            <a:lvl1pPr>
              <a:defRPr sz="1000"/>
            </a:lvl1pPr>
            <a:lvl2pPr marL="7938" indent="0">
              <a:buNone/>
              <a:tabLst/>
              <a:defRPr sz="1000" cap="all" baseline="0"/>
            </a:lvl2pPr>
            <a:lvl3pPr marL="258763" indent="-258763">
              <a:tabLst/>
              <a:defRPr sz="1000"/>
            </a:lvl3pPr>
            <a:lvl4pPr marL="517525" indent="-250825">
              <a:tabLst/>
              <a:defRPr sz="1000"/>
            </a:lvl4pPr>
            <a:lvl5pPr marL="742950" indent="-209550">
              <a:tabLst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A93326D8-916E-7F42-84A1-D3255B7EA05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191000" y="0"/>
            <a:ext cx="8001000" cy="6858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6" t="2824" r="1691" b="2329"/>
          <a:stretch/>
        </p:blipFill>
        <p:spPr>
          <a:xfrm>
            <a:off x="314326" y="212494"/>
            <a:ext cx="2366269" cy="900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970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VIOLET COLLABORATION">
    <p:bg>
      <p:bgPr>
        <a:solidFill>
          <a:srgbClr val="4F17A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9184" y="3236976"/>
            <a:ext cx="5721350" cy="2387600"/>
          </a:xfrm>
        </p:spPr>
        <p:txBody>
          <a:bodyPr anchor="t" anchorCtr="0"/>
          <a:lstStyle>
            <a:lvl1pPr algn="l">
              <a:lnSpc>
                <a:spcPts val="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VIOLET COLLABORA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6E17E88-A260-D741-B709-965CBB25DD6E}" type="datetime3">
              <a:rPr lang="en-US" smtClean="0"/>
              <a:t>23 July 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26E8CD4-4688-1442-A84F-82A1AC4F57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51563" y="307975"/>
            <a:ext cx="5721350" cy="572135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/>
          <a:srcRect r="63744" b="-701"/>
          <a:stretch/>
        </p:blipFill>
        <p:spPr>
          <a:xfrm>
            <a:off x="329184" y="6252436"/>
            <a:ext cx="384926" cy="40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5870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VIOLET COLLABORATION">
    <p:bg>
      <p:bgPr>
        <a:solidFill>
          <a:srgbClr val="4F17A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9184" y="3236976"/>
            <a:ext cx="5721350" cy="2387600"/>
          </a:xfrm>
        </p:spPr>
        <p:txBody>
          <a:bodyPr anchor="t" anchorCtr="0"/>
          <a:lstStyle>
            <a:lvl1pPr algn="l">
              <a:lnSpc>
                <a:spcPts val="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VIOLET TEAMWORK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6E17E88-A260-D741-B709-965CBB25DD6E}" type="datetime3">
              <a:rPr lang="en-US" smtClean="0"/>
              <a:t>23 July 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BAC8784-E8A8-2E44-8202-FAC0704B89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51563" y="307975"/>
            <a:ext cx="5735016" cy="573501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/>
          <a:srcRect r="63744" b="-701"/>
          <a:stretch/>
        </p:blipFill>
        <p:spPr>
          <a:xfrm>
            <a:off x="329184" y="6252436"/>
            <a:ext cx="384926" cy="40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9690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VIOLET PATTERN">
    <p:bg>
      <p:bgPr>
        <a:solidFill>
          <a:srgbClr val="4F17A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9184" y="3236976"/>
            <a:ext cx="5695095" cy="2387600"/>
          </a:xfrm>
        </p:spPr>
        <p:txBody>
          <a:bodyPr anchor="t" anchorCtr="0"/>
          <a:lstStyle>
            <a:lvl1pPr algn="l">
              <a:lnSpc>
                <a:spcPts val="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VIOLET PATTER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BB358D3-A82E-7A42-949A-12099241BB37}" type="datetime3">
              <a:rPr lang="en-US" smtClean="0"/>
              <a:t>23 July 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C32C4C2-5012-8A4E-9976-D06B71975E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47285" y="5187550"/>
            <a:ext cx="863600" cy="8636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127EC68-2C75-BA45-9985-62B9AA9620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14070" y="3224893"/>
            <a:ext cx="864453" cy="86445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26F4148-A6EF-0B41-BA3C-1DBDAAEC3CC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14070" y="1302004"/>
            <a:ext cx="855663" cy="85566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C220902C-155B-D849-ACE7-AE85807C1B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087519" y="5232181"/>
            <a:ext cx="849311" cy="84931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76977E99-4A69-794B-BD3C-48DA4888475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151563" y="2262188"/>
            <a:ext cx="854075" cy="854075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CE4EE1B-2FEB-154C-8F29-E45EE5E328D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lum bright="100000"/>
          </a:blip>
          <a:stretch>
            <a:fillRect/>
          </a:stretch>
        </p:blipFill>
        <p:spPr>
          <a:xfrm>
            <a:off x="9078118" y="1287463"/>
            <a:ext cx="849312" cy="849312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D2EE7049-3688-B94D-848E-9AB6B82282D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lum bright="100000"/>
          </a:blip>
          <a:stretch>
            <a:fillRect/>
          </a:stretch>
        </p:blipFill>
        <p:spPr>
          <a:xfrm>
            <a:off x="10058347" y="292894"/>
            <a:ext cx="869156" cy="869156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C15D96E2-281C-3F46-8843-E17D1E113E7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078912" y="4214813"/>
            <a:ext cx="847725" cy="84772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E6544F6-B72E-C748-B9C0-4584A6B4220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044113" y="2262188"/>
            <a:ext cx="847725" cy="84772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10"/>
          <a:srcRect r="63744" b="-701"/>
          <a:stretch/>
        </p:blipFill>
        <p:spPr>
          <a:xfrm>
            <a:off x="329184" y="6252436"/>
            <a:ext cx="384926" cy="40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1739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4325" y="1828800"/>
            <a:ext cx="11558588" cy="42068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32E343-2B04-EB48-9B97-BD2FE8D48C7F}" type="datetime3">
              <a:rPr lang="en-US" smtClean="0"/>
              <a:t>23 July 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/>
          <a:srcRect r="61205" b="-4710"/>
          <a:stretch/>
        </p:blipFill>
        <p:spPr>
          <a:xfrm>
            <a:off x="314325" y="6201058"/>
            <a:ext cx="348283" cy="358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16910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4325" y="1825625"/>
            <a:ext cx="5705475" cy="4210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700713" cy="4210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0A0274-0969-3941-8619-969AE42D3FF0}" type="datetime3">
              <a:rPr lang="en-US" smtClean="0"/>
              <a:t>23 July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/>
          <a:srcRect r="61205" b="-4710"/>
          <a:stretch/>
        </p:blipFill>
        <p:spPr>
          <a:xfrm>
            <a:off x="314325" y="6201058"/>
            <a:ext cx="348283" cy="358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1039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4327" y="1825625"/>
            <a:ext cx="3675887" cy="4210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91794" y="1825625"/>
            <a:ext cx="3671887" cy="4210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C6AE46-E964-4841-95DA-D027440F40A9}" type="datetime3">
              <a:rPr lang="en-US" smtClean="0"/>
              <a:t>23 July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E52804E9-EC7B-7941-AEE8-96B420A9CD2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16094" y="1825625"/>
            <a:ext cx="3671887" cy="4210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/>
          <a:srcRect r="61205" b="-4710"/>
          <a:stretch/>
        </p:blipFill>
        <p:spPr>
          <a:xfrm>
            <a:off x="314327" y="6276098"/>
            <a:ext cx="348283" cy="358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3545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AS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2442940-A61A-1D4B-8D34-AED74D349798}"/>
              </a:ext>
            </a:extLst>
          </p:cNvPr>
          <p:cNvSpPr/>
          <p:nvPr userDrawn="1"/>
        </p:nvSpPr>
        <p:spPr>
          <a:xfrm>
            <a:off x="0" y="0"/>
            <a:ext cx="4075113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2484CA1-A981-5642-BF29-DC185157FEF2}"/>
              </a:ext>
            </a:extLst>
          </p:cNvPr>
          <p:cNvSpPr/>
          <p:nvPr userDrawn="1"/>
        </p:nvSpPr>
        <p:spPr>
          <a:xfrm>
            <a:off x="8103765" y="0"/>
            <a:ext cx="4088235" cy="6858000"/>
          </a:xfrm>
          <a:prstGeom prst="rect">
            <a:avLst/>
          </a:prstGeom>
          <a:solidFill>
            <a:srgbClr val="4F17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825898" y="2007764"/>
            <a:ext cx="2537903" cy="4043363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 marL="7938" indent="0">
              <a:buFontTx/>
              <a:buNone/>
              <a:tabLst/>
              <a:defRPr sz="2200">
                <a:solidFill>
                  <a:schemeClr val="bg1"/>
                </a:solidFill>
              </a:defRPr>
            </a:lvl2pPr>
            <a:lvl3pPr marL="7938" indent="0">
              <a:buNone/>
              <a:tabLst/>
              <a:defRPr sz="1400">
                <a:solidFill>
                  <a:schemeClr val="bg1"/>
                </a:solidFill>
              </a:defRPr>
            </a:lvl3pPr>
            <a:lvl4pPr marL="233363" indent="-233363">
              <a:tabLst/>
              <a:defRPr sz="1400">
                <a:solidFill>
                  <a:schemeClr val="bg1"/>
                </a:solidFill>
              </a:defRPr>
            </a:lvl4pPr>
            <a:lvl5pPr marL="7938" indent="0">
              <a:buNone/>
              <a:tabLst/>
              <a:defRPr sz="12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hase 2</a:t>
            </a:r>
          </a:p>
          <a:p>
            <a:pPr lvl="0"/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CBD696-7C8A-2A45-A7BF-3087168EA6B0}" type="datetime3">
              <a:rPr lang="en-US" smtClean="0"/>
              <a:t>23 July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456BA1C-8FE7-1545-9EE7-FEB5790C61F4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911336" y="2007764"/>
            <a:ext cx="2537903" cy="4043363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 marL="7938" indent="0">
              <a:buFontTx/>
              <a:buNone/>
              <a:tabLst/>
              <a:defRPr sz="2200">
                <a:solidFill>
                  <a:schemeClr val="bg1"/>
                </a:solidFill>
              </a:defRPr>
            </a:lvl2pPr>
            <a:lvl3pPr marL="7938" indent="0">
              <a:buNone/>
              <a:tabLst/>
              <a:defRPr sz="1400">
                <a:solidFill>
                  <a:schemeClr val="bg1"/>
                </a:solidFill>
              </a:defRPr>
            </a:lvl3pPr>
            <a:lvl4pPr marL="233363" indent="-233363">
              <a:tabLst/>
              <a:defRPr sz="1400">
                <a:solidFill>
                  <a:schemeClr val="bg1"/>
                </a:solidFill>
              </a:defRPr>
            </a:lvl4pPr>
            <a:lvl5pPr marL="7938" indent="0">
              <a:buNone/>
              <a:tabLst/>
              <a:defRPr sz="12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hase 3</a:t>
            </a:r>
          </a:p>
          <a:p>
            <a:pPr lvl="0"/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8B69221-EC07-7047-93A5-09CD4CA85985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706903" y="2007764"/>
            <a:ext cx="2537903" cy="4043363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 marL="7938" indent="0">
              <a:buFontTx/>
              <a:buNone/>
              <a:tabLst/>
              <a:defRPr sz="2200">
                <a:solidFill>
                  <a:schemeClr val="bg1"/>
                </a:solidFill>
              </a:defRPr>
            </a:lvl2pPr>
            <a:lvl3pPr marL="7938" indent="0">
              <a:buNone/>
              <a:tabLst/>
              <a:defRPr sz="1400">
                <a:solidFill>
                  <a:schemeClr val="bg1"/>
                </a:solidFill>
              </a:defRPr>
            </a:lvl3pPr>
            <a:lvl4pPr marL="233363" indent="-233363">
              <a:tabLst/>
              <a:defRPr sz="1400">
                <a:solidFill>
                  <a:schemeClr val="bg1"/>
                </a:solidFill>
              </a:defRPr>
            </a:lvl4pPr>
            <a:lvl5pPr marL="7938" indent="0">
              <a:buNone/>
              <a:tabLst/>
              <a:defRPr sz="12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hase 1</a:t>
            </a:r>
          </a:p>
          <a:p>
            <a:pPr lvl="0"/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/>
          <a:srcRect r="63744" b="-701"/>
          <a:stretch/>
        </p:blipFill>
        <p:spPr>
          <a:xfrm>
            <a:off x="329184" y="6252436"/>
            <a:ext cx="384926" cy="40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5388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4325" y="1835150"/>
            <a:ext cx="2540000" cy="4200525"/>
          </a:xfrm>
        </p:spPr>
        <p:txBody>
          <a:bodyPr/>
          <a:lstStyle>
            <a:lvl1pPr>
              <a:defRPr/>
            </a:lvl1pPr>
            <a:lvl3pPr marL="685800" indent="-228600">
              <a:tabLst/>
              <a:defRPr/>
            </a:lvl3pPr>
            <a:lvl4pPr marL="685800" indent="-228600">
              <a:tabLst/>
              <a:defRPr/>
            </a:lvl4pPr>
            <a:lvl5pPr marL="685800" indent="-228600">
              <a:tabLst/>
              <a:defRPr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227469-4926-C24C-9286-249EA7D18847}" type="datetime3">
              <a:rPr lang="en-US" smtClean="0"/>
              <a:t>23 July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6DA3F6D-83D4-BE48-9E26-53EF39798E66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3222625" y="1835150"/>
            <a:ext cx="2540000" cy="4200525"/>
          </a:xfrm>
        </p:spPr>
        <p:txBody>
          <a:bodyPr/>
          <a:lstStyle>
            <a:lvl1pPr>
              <a:defRPr/>
            </a:lvl1pPr>
            <a:lvl3pPr marL="685800" indent="-228600">
              <a:tabLst/>
              <a:defRPr/>
            </a:lvl3pPr>
            <a:lvl4pPr marL="685800" indent="-228600">
              <a:tabLst/>
              <a:defRPr/>
            </a:lvl4pPr>
            <a:lvl5pPr marL="685800" indent="-228600">
              <a:tabLst/>
              <a:defRPr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2DFB3D4-E49B-0F4E-A134-A9946D7F6DD4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143625" y="1835150"/>
            <a:ext cx="2540000" cy="4200525"/>
          </a:xfrm>
        </p:spPr>
        <p:txBody>
          <a:bodyPr/>
          <a:lstStyle>
            <a:lvl1pPr>
              <a:defRPr/>
            </a:lvl1pPr>
            <a:lvl3pPr marL="685800" indent="-228600">
              <a:tabLst/>
              <a:defRPr/>
            </a:lvl3pPr>
            <a:lvl4pPr marL="685800" indent="-228600">
              <a:tabLst/>
              <a:defRPr/>
            </a:lvl4pPr>
            <a:lvl5pPr marL="685800" indent="-228600">
              <a:tabLst/>
              <a:defRPr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062AACB-5EAA-694C-B128-5E55E763F06F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9077325" y="1835150"/>
            <a:ext cx="2540000" cy="4200525"/>
          </a:xfrm>
        </p:spPr>
        <p:txBody>
          <a:bodyPr/>
          <a:lstStyle>
            <a:lvl1pPr>
              <a:defRPr/>
            </a:lvl1pPr>
            <a:lvl3pPr marL="685800" indent="-228600">
              <a:tabLst/>
              <a:defRPr/>
            </a:lvl3pPr>
            <a:lvl4pPr marL="685800" indent="-228600">
              <a:tabLst/>
              <a:defRPr/>
            </a:lvl4pPr>
            <a:lvl5pPr marL="685800" indent="-228600">
              <a:tabLst/>
              <a:defRPr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/>
          <a:srcRect r="61205" b="-4710"/>
          <a:stretch/>
        </p:blipFill>
        <p:spPr>
          <a:xfrm>
            <a:off x="314325" y="6276098"/>
            <a:ext cx="348283" cy="358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39954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ontent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325" y="302839"/>
            <a:ext cx="5705475" cy="3781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4325" y="1825625"/>
            <a:ext cx="5705475" cy="4210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3A847-D166-824F-BF25-C81C07C7958A}" type="datetime3">
              <a:rPr lang="en-US" smtClean="0"/>
              <a:t>23 July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A0D89CE-43D8-264D-9E8B-EF25D8F99E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51563" y="303213"/>
            <a:ext cx="5721350" cy="573246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/>
          <a:srcRect r="61205" b="-4710"/>
          <a:stretch/>
        </p:blipFill>
        <p:spPr>
          <a:xfrm>
            <a:off x="314325" y="6201058"/>
            <a:ext cx="348283" cy="358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81519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Content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67438" y="302839"/>
            <a:ext cx="5705475" cy="3781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67438" y="1825625"/>
            <a:ext cx="5705475" cy="4210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AB87EE-AB7B-094A-B9F5-CDE098C24703}" type="datetime3">
              <a:rPr lang="en-US" smtClean="0"/>
              <a:t>23 July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A0D89CE-43D8-264D-9E8B-EF25D8F99E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6388" y="303213"/>
            <a:ext cx="5721350" cy="573246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/>
          <a:srcRect r="61205" b="-4710"/>
          <a:stretch/>
        </p:blipFill>
        <p:spPr>
          <a:xfrm>
            <a:off x="314325" y="6201058"/>
            <a:ext cx="348283" cy="358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83119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 2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4326" y="1734906"/>
            <a:ext cx="3760788" cy="1719262"/>
          </a:xfrm>
        </p:spPr>
        <p:txBody>
          <a:bodyPr anchor="b"/>
          <a:lstStyle>
            <a:lvl1pPr>
              <a:lnSpc>
                <a:spcPts val="3200"/>
              </a:lnSpc>
              <a:defRPr sz="2800" cap="all" baseline="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4326" y="3608388"/>
            <a:ext cx="3760788" cy="473075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Presentation sub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DB4343E-05BA-9F40-A6AA-424EEF5104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4325" y="5603875"/>
            <a:ext cx="3760788" cy="431800"/>
          </a:xfrm>
        </p:spPr>
        <p:txBody>
          <a:bodyPr>
            <a:noAutofit/>
          </a:bodyPr>
          <a:lstStyle>
            <a:lvl1pPr>
              <a:defRPr sz="1000"/>
            </a:lvl1pPr>
            <a:lvl2pPr marL="7938" indent="0">
              <a:buNone/>
              <a:tabLst/>
              <a:defRPr sz="1000" cap="all" baseline="0"/>
            </a:lvl2pPr>
            <a:lvl3pPr marL="258763" indent="-258763">
              <a:tabLst/>
              <a:defRPr sz="1000"/>
            </a:lvl3pPr>
            <a:lvl4pPr marL="517525" indent="-250825">
              <a:tabLst/>
              <a:defRPr sz="1000"/>
            </a:lvl4pPr>
            <a:lvl5pPr marL="742950" indent="-209550">
              <a:tabLst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5F123EB-1A43-4C47-967B-614F311896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31521" y="307975"/>
            <a:ext cx="847725" cy="84772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BC5CB2C-9AAA-1545-915E-FC49B45E41A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014264" y="1248105"/>
            <a:ext cx="885495" cy="88549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50D0D3B-8E64-C94D-8C57-958F4D587CA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17250" y="2252663"/>
            <a:ext cx="855663" cy="85566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72E3624-EF0D-344F-99F9-38B4AA30CEB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078912" y="3233738"/>
            <a:ext cx="847725" cy="84772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8B9138D8-3839-EB41-9693-581FF9D1CE2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078911" y="5180012"/>
            <a:ext cx="847726" cy="84772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8974C70-9A1B-AD41-A5E9-A11196CF8EC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116763" y="2252663"/>
            <a:ext cx="863600" cy="8636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581B349C-E974-CA4B-8764-2093323EC9D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132666" y="1295881"/>
            <a:ext cx="847725" cy="84772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D4409720-67C7-9E46-AEB9-D2ED2D6E73B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1017249" y="5201133"/>
            <a:ext cx="855663" cy="855663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54240006-C33B-FA46-BCDC-BF385748B15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8083550" y="4198938"/>
            <a:ext cx="863600" cy="8636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3F52FABE-7A49-B541-8D4D-5F2D7F0B4A81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5172075" y="4214813"/>
            <a:ext cx="847725" cy="847725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BB78D3D4-C81F-0A47-B195-07CB55354A19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1033969" y="1304663"/>
            <a:ext cx="838943" cy="838943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5DEE42EA-6D04-1848-B012-BD6227B77025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6153149" y="3233738"/>
            <a:ext cx="847725" cy="84772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402AE748-0409-204F-911D-ED5B95B1510E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8119271" y="2278064"/>
            <a:ext cx="830262" cy="830262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23515782-B710-0042-9284-5AEF22241D98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8101807" y="305041"/>
            <a:ext cx="847725" cy="847725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0C995910-AE81-184A-AE58-D8D46E560625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9078912" y="4198938"/>
            <a:ext cx="847725" cy="847725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2BF42211-D502-654E-A7BC-34E97CA8F595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6163313" y="1295881"/>
            <a:ext cx="847725" cy="847725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B20B70C-80FC-B647-98C0-AF2E0A554BDE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7132638" y="5180012"/>
            <a:ext cx="847725" cy="847725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798A033A-DA29-BA45-807C-B9128E9A703E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0059985" y="5181600"/>
            <a:ext cx="846137" cy="846137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2CD37044-59FA-F143-AECF-6BD3BC419F22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9096376" y="1286115"/>
            <a:ext cx="830262" cy="830262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6" t="2824" r="1691" b="2329"/>
          <a:stretch/>
        </p:blipFill>
        <p:spPr>
          <a:xfrm>
            <a:off x="314326" y="212494"/>
            <a:ext cx="2366269" cy="900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02131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Content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325" y="302839"/>
            <a:ext cx="5705475" cy="3781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DE7ADE-6F10-1142-AEA7-FE5F1740BF72}" type="datetime3">
              <a:rPr lang="en-US" smtClean="0"/>
              <a:t>23 July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B35F889-CC52-F940-856C-51ED29C1396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4325" y="1612900"/>
            <a:ext cx="4740275" cy="34496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/>
          <a:srcRect r="61205" b="-4710"/>
          <a:stretch/>
        </p:blipFill>
        <p:spPr>
          <a:xfrm>
            <a:off x="314325" y="6201058"/>
            <a:ext cx="348283" cy="358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4892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Content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1563" y="302839"/>
            <a:ext cx="5705475" cy="3781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1FEBB-6A99-D647-AC16-C20746B1070E}" type="datetime3">
              <a:rPr lang="en-US" smtClean="0"/>
              <a:t>23 July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B35F889-CC52-F940-856C-51ED29C1396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51563" y="1612900"/>
            <a:ext cx="4740275" cy="34496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/>
          <a:srcRect r="61205" b="-4710"/>
          <a:stretch/>
        </p:blipFill>
        <p:spPr>
          <a:xfrm>
            <a:off x="314325" y="6201058"/>
            <a:ext cx="348283" cy="358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22857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041555-4E7B-2F45-99CC-7D97BF5184A8}" type="datetime3">
              <a:rPr lang="en-US" smtClean="0"/>
              <a:t>23 July 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/>
          <a:srcRect r="61205" b="-4710"/>
          <a:stretch/>
        </p:blipFill>
        <p:spPr>
          <a:xfrm>
            <a:off x="314325" y="6201058"/>
            <a:ext cx="348283" cy="358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5960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Content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E0F37E5-098D-4B4E-8F50-5BBDD09142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47150" y="0"/>
            <a:ext cx="3240088" cy="6858000"/>
          </a:xfrm>
          <a:solidFill>
            <a:schemeClr val="accent1"/>
          </a:solidFill>
        </p:spPr>
        <p:txBody>
          <a:bodyPr lIns="457200" tIns="1188720" rIns="274320"/>
          <a:lstStyle>
            <a:lvl1pPr>
              <a:spcAft>
                <a:spcPts val="600"/>
              </a:spcAft>
              <a:defRPr sz="6000" b="1">
                <a:solidFill>
                  <a:schemeClr val="bg1"/>
                </a:solidFill>
              </a:defRPr>
            </a:lvl1pPr>
            <a:lvl2pPr marL="0" indent="0">
              <a:buFontTx/>
              <a:buNone/>
              <a:tabLst/>
              <a:defRPr sz="1600">
                <a:solidFill>
                  <a:schemeClr val="bg1"/>
                </a:solidFill>
              </a:defRPr>
            </a:lvl2pPr>
            <a:lvl3pPr marL="228600" indent="-228600">
              <a:tabLst/>
              <a:defRPr sz="1600">
                <a:solidFill>
                  <a:schemeClr val="bg1"/>
                </a:solidFill>
              </a:defRPr>
            </a:lvl3pPr>
            <a:lvl4pPr marL="228600" indent="-228600">
              <a:tabLst/>
              <a:defRPr sz="1600">
                <a:solidFill>
                  <a:schemeClr val="bg1"/>
                </a:solidFill>
              </a:defRPr>
            </a:lvl4pPr>
            <a:lvl5pPr marL="0" indent="0">
              <a:buFontTx/>
              <a:buNone/>
              <a:tabLst/>
              <a:defRPr sz="12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0%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325" y="302839"/>
            <a:ext cx="7783513" cy="3781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2BEFA7-94B0-F14D-8D0E-FEFBB368FAB7}" type="datetime3">
              <a:rPr lang="en-US" smtClean="0"/>
              <a:t>23 July 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B35F889-CC52-F940-856C-51ED29C1396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4325" y="1612900"/>
            <a:ext cx="7783513" cy="34496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/>
          <a:srcRect r="61205" b="-4710"/>
          <a:stretch/>
        </p:blipFill>
        <p:spPr>
          <a:xfrm>
            <a:off x="314325" y="6201058"/>
            <a:ext cx="348283" cy="358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5650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/>
          <a:srcRect r="61205" b="-4710"/>
          <a:stretch/>
        </p:blipFill>
        <p:spPr>
          <a:xfrm>
            <a:off x="314325" y="6201058"/>
            <a:ext cx="348283" cy="35856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C250D1-D419-0749-9CE8-FF2378899362}" type="datetime3">
              <a:rPr lang="en-US" smtClean="0"/>
              <a:t>23 July 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E1EBEB5-9CAC-B04D-92DD-C5F20681181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14325" y="1287463"/>
            <a:ext cx="7666038" cy="431323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8EC86BF-9327-3A4F-90FA-1E4B778717E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97838" y="1287463"/>
            <a:ext cx="3775075" cy="205263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43C9E418-C89A-204C-9103-99356F5EFDD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097838" y="3509963"/>
            <a:ext cx="3775075" cy="205263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CB2A138-8FC7-8B47-A2E8-8DCA48EC721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14325" y="5753100"/>
            <a:ext cx="7666038" cy="282575"/>
          </a:xfrm>
        </p:spPr>
        <p:txBody>
          <a:bodyPr>
            <a:noAutofit/>
          </a:bodyPr>
          <a:lstStyle>
            <a:lvl1pPr>
              <a:defRPr sz="1200" cap="all" baseline="0"/>
            </a:lvl1pPr>
            <a:lvl2pPr marL="0" indent="0">
              <a:buFontTx/>
              <a:buNone/>
              <a:tabLst/>
              <a:defRPr sz="1200"/>
            </a:lvl2pPr>
            <a:lvl3pPr marL="0" indent="0">
              <a:buFontTx/>
              <a:buNone/>
              <a:tabLst/>
              <a:defRPr sz="1200"/>
            </a:lvl3pPr>
            <a:lvl4pPr marL="0" indent="0">
              <a:buFontTx/>
              <a:buNone/>
              <a:tabLst/>
              <a:defRPr sz="1200"/>
            </a:lvl4pPr>
            <a:lvl5pPr marL="0" indent="0">
              <a:buFontTx/>
              <a:buNone/>
              <a:tabLst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77650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s with captio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/>
          <a:srcRect r="61205" b="-4710"/>
          <a:stretch/>
        </p:blipFill>
        <p:spPr>
          <a:xfrm>
            <a:off x="314325" y="6201058"/>
            <a:ext cx="348283" cy="35856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417-37E1-084F-875D-6EF728360C51}" type="datetime3">
              <a:rPr lang="en-US" smtClean="0"/>
              <a:t>23 July 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E1EBEB5-9CAC-B04D-92DD-C5F20681181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14325" y="1287463"/>
            <a:ext cx="5713413" cy="431323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CB2A138-8FC7-8B47-A2E8-8DCA48EC721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14325" y="5753100"/>
            <a:ext cx="7666038" cy="282575"/>
          </a:xfrm>
        </p:spPr>
        <p:txBody>
          <a:bodyPr>
            <a:noAutofit/>
          </a:bodyPr>
          <a:lstStyle>
            <a:lvl1pPr>
              <a:defRPr sz="1200" cap="all" baseline="0"/>
            </a:lvl1pPr>
            <a:lvl2pPr marL="0" indent="0">
              <a:buFontTx/>
              <a:buNone/>
              <a:tabLst/>
              <a:defRPr sz="1200"/>
            </a:lvl2pPr>
            <a:lvl3pPr marL="0" indent="0">
              <a:buFontTx/>
              <a:buNone/>
              <a:tabLst/>
              <a:defRPr sz="1200"/>
            </a:lvl3pPr>
            <a:lvl4pPr marL="0" indent="0">
              <a:buFontTx/>
              <a:buNone/>
              <a:tabLst/>
              <a:defRPr sz="1200"/>
            </a:lvl4pPr>
            <a:lvl5pPr marL="0" indent="0">
              <a:buFontTx/>
              <a:buNone/>
              <a:tabLst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89A62191-A9D2-DF45-834A-37875AA2A76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3625" y="1287463"/>
            <a:ext cx="5713413" cy="431323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6357206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/>
          <a:srcRect r="61205" b="-4710"/>
          <a:stretch/>
        </p:blipFill>
        <p:spPr>
          <a:xfrm>
            <a:off x="314325" y="6201058"/>
            <a:ext cx="348283" cy="35856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1ABCD5-E8D7-3442-80F4-C6371EB1D97F}" type="datetime3">
              <a:rPr lang="en-US" smtClean="0"/>
              <a:t>23 July 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E1EBEB5-9CAC-B04D-92DD-C5F20681181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14326" y="1287463"/>
            <a:ext cx="3760788" cy="431323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CB2A138-8FC7-8B47-A2E8-8DCA48EC721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14325" y="5753100"/>
            <a:ext cx="3760788" cy="282575"/>
          </a:xfrm>
        </p:spPr>
        <p:txBody>
          <a:bodyPr>
            <a:noAutofit/>
          </a:bodyPr>
          <a:lstStyle>
            <a:lvl1pPr>
              <a:defRPr sz="1200" b="1" cap="all" baseline="0"/>
            </a:lvl1pPr>
            <a:lvl2pPr marL="0" indent="0">
              <a:buFontTx/>
              <a:buNone/>
              <a:tabLst/>
              <a:defRPr sz="1200" b="1" cap="all" baseline="0"/>
            </a:lvl2pPr>
            <a:lvl3pPr marL="0" indent="0">
              <a:buFontTx/>
              <a:buNone/>
              <a:tabLst/>
              <a:defRPr sz="1200"/>
            </a:lvl3pPr>
            <a:lvl4pPr marL="0" indent="0">
              <a:buFontTx/>
              <a:buNone/>
              <a:tabLst/>
              <a:defRPr sz="1200"/>
            </a:lvl4pPr>
            <a:lvl5pPr marL="0" indent="0">
              <a:buFontTx/>
              <a:buNone/>
              <a:tabLst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89A62191-A9D2-DF45-834A-37875AA2A76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13226" y="1287463"/>
            <a:ext cx="3760788" cy="431323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5F8CEA54-6802-3A40-B183-F9B003BC3F2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24826" y="1287463"/>
            <a:ext cx="3760788" cy="431323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6B427520-87EA-644B-AF80-E5FE47514AC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25925" y="5753100"/>
            <a:ext cx="3760788" cy="282575"/>
          </a:xfrm>
        </p:spPr>
        <p:txBody>
          <a:bodyPr>
            <a:noAutofit/>
          </a:bodyPr>
          <a:lstStyle>
            <a:lvl1pPr>
              <a:defRPr sz="1200" b="1" cap="all" baseline="0"/>
            </a:lvl1pPr>
            <a:lvl2pPr marL="0" indent="0">
              <a:buFontTx/>
              <a:buNone/>
              <a:tabLst/>
              <a:defRPr sz="1200" b="1" cap="all" baseline="0"/>
            </a:lvl2pPr>
            <a:lvl3pPr marL="0" indent="0">
              <a:buFontTx/>
              <a:buNone/>
              <a:tabLst/>
              <a:defRPr sz="1200"/>
            </a:lvl3pPr>
            <a:lvl4pPr marL="0" indent="0">
              <a:buFontTx/>
              <a:buNone/>
              <a:tabLst/>
              <a:defRPr sz="1200"/>
            </a:lvl4pPr>
            <a:lvl5pPr marL="0" indent="0">
              <a:buFontTx/>
              <a:buNone/>
              <a:tabLst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BF1C567-1ED2-384F-A94D-5752BA2E655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99425" y="5753100"/>
            <a:ext cx="3760788" cy="282575"/>
          </a:xfrm>
        </p:spPr>
        <p:txBody>
          <a:bodyPr>
            <a:noAutofit/>
          </a:bodyPr>
          <a:lstStyle>
            <a:lvl1pPr>
              <a:defRPr sz="1200" b="1" cap="all" baseline="0"/>
            </a:lvl1pPr>
            <a:lvl2pPr marL="0" indent="0">
              <a:buFontTx/>
              <a:buNone/>
              <a:tabLst/>
              <a:defRPr sz="1200" b="1" cap="all" baseline="0"/>
            </a:lvl2pPr>
            <a:lvl3pPr marL="0" indent="0">
              <a:buFontTx/>
              <a:buNone/>
              <a:tabLst/>
              <a:defRPr sz="1200"/>
            </a:lvl3pPr>
            <a:lvl4pPr marL="0" indent="0">
              <a:buFontTx/>
              <a:buNone/>
              <a:tabLst/>
              <a:defRPr sz="1200"/>
            </a:lvl4pPr>
            <a:lvl5pPr marL="0" indent="0">
              <a:buFontTx/>
              <a:buNone/>
              <a:tabLst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29874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with title and black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8A48080-CFFA-6B40-8C63-9846472B922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CDEE0A6-592B-1D4B-BE47-CBE2064D89FC}" type="datetime3">
              <a:rPr lang="en-US" smtClean="0"/>
              <a:t>23 July 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D8D725D-0795-4D47-9DB2-E970319D9D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4325" y="1638300"/>
            <a:ext cx="3760788" cy="4405884"/>
          </a:xfrm>
        </p:spPr>
        <p:txBody>
          <a:bodyPr>
            <a:noAutofit/>
          </a:bodyPr>
          <a:lstStyle>
            <a:lvl1pPr>
              <a:defRPr sz="1600"/>
            </a:lvl1pPr>
            <a:lvl2pPr marL="228600" indent="-228600">
              <a:tabLst/>
              <a:defRPr sz="1600"/>
            </a:lvl2pPr>
            <a:lvl3pPr marL="457200" indent="-228600">
              <a:tabLst/>
              <a:defRPr sz="1600"/>
            </a:lvl3pPr>
            <a:lvl4pPr marL="736600" indent="-228600">
              <a:tabLst/>
              <a:defRPr sz="1600"/>
            </a:lvl4pPr>
            <a:lvl5pPr marL="965200" indent="-228600">
              <a:tabLst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/>
          <a:srcRect r="63744" b="-701"/>
          <a:stretch/>
        </p:blipFill>
        <p:spPr>
          <a:xfrm>
            <a:off x="329184" y="6252436"/>
            <a:ext cx="384926" cy="40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313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image with title and whit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8A48080-CFFA-6B40-8C63-9846472B922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33ACD63-CEFE-0742-A49C-23CB2A8A6E13}" type="datetime3">
              <a:rPr lang="en-US" smtClean="0"/>
              <a:t>23 July 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D8D725D-0795-4D47-9DB2-E970319D9D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4325" y="1638299"/>
            <a:ext cx="3760788" cy="4397375"/>
          </a:xfr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 marL="228600" indent="-228600">
              <a:tabLst/>
              <a:defRPr sz="1600">
                <a:solidFill>
                  <a:schemeClr val="bg1"/>
                </a:solidFill>
              </a:defRPr>
            </a:lvl2pPr>
            <a:lvl3pPr marL="457200" indent="-228600">
              <a:tabLst/>
              <a:defRPr sz="1600">
                <a:solidFill>
                  <a:schemeClr val="bg1"/>
                </a:solidFill>
              </a:defRPr>
            </a:lvl3pPr>
            <a:lvl4pPr marL="736600" indent="-228600">
              <a:tabLst/>
              <a:defRPr sz="1600">
                <a:solidFill>
                  <a:schemeClr val="bg1"/>
                </a:solidFill>
              </a:defRPr>
            </a:lvl4pPr>
            <a:lvl5pPr marL="965200" indent="-228600">
              <a:tabLst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/>
          <a:srcRect r="63744" b="-701"/>
          <a:stretch/>
        </p:blipFill>
        <p:spPr>
          <a:xfrm>
            <a:off x="329184" y="6252436"/>
            <a:ext cx="384926" cy="40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79497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4B2E09-5AA7-F94D-929B-98BBF584D59A}" type="datetime3">
              <a:rPr lang="en-US" smtClean="0"/>
              <a:t>23 July 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/>
          <a:srcRect r="61205" b="-4710"/>
          <a:stretch/>
        </p:blipFill>
        <p:spPr>
          <a:xfrm>
            <a:off x="314325" y="6201058"/>
            <a:ext cx="348283" cy="358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01206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 GROWTH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4326" y="1734906"/>
            <a:ext cx="3760788" cy="1719262"/>
          </a:xfrm>
        </p:spPr>
        <p:txBody>
          <a:bodyPr anchor="b"/>
          <a:lstStyle>
            <a:lvl1pPr>
              <a:lnSpc>
                <a:spcPts val="3200"/>
              </a:lnSpc>
              <a:defRPr sz="28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14326" y="3608388"/>
            <a:ext cx="3760788" cy="473075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Presentation sub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DB4343E-05BA-9F40-A6AA-424EEF5104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4325" y="5603875"/>
            <a:ext cx="3760788" cy="431800"/>
          </a:xfrm>
        </p:spPr>
        <p:txBody>
          <a:bodyPr>
            <a:noAutofit/>
          </a:bodyPr>
          <a:lstStyle>
            <a:lvl1pPr>
              <a:defRPr sz="1000">
                <a:solidFill>
                  <a:schemeClr val="bg1"/>
                </a:solidFill>
              </a:defRPr>
            </a:lvl1pPr>
            <a:lvl2pPr marL="7938" indent="0">
              <a:buNone/>
              <a:tabLst/>
              <a:defRPr sz="1000" cap="all" baseline="0">
                <a:solidFill>
                  <a:schemeClr val="bg1"/>
                </a:solidFill>
              </a:defRPr>
            </a:lvl2pPr>
            <a:lvl3pPr marL="258763" indent="-258763">
              <a:tabLst/>
              <a:defRPr sz="1000">
                <a:solidFill>
                  <a:schemeClr val="bg1"/>
                </a:solidFill>
              </a:defRPr>
            </a:lvl3pPr>
            <a:lvl4pPr marL="517525" indent="-250825">
              <a:tabLst/>
              <a:defRPr sz="1000">
                <a:solidFill>
                  <a:schemeClr val="bg1"/>
                </a:solidFill>
              </a:defRPr>
            </a:lvl4pPr>
            <a:lvl5pPr marL="742950" indent="-209550">
              <a:tabLst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8B6615C-F950-1A48-ABE9-B6CBA87EB5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6151564" y="304802"/>
            <a:ext cx="5730874" cy="573087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325" y="304802"/>
            <a:ext cx="3115062" cy="117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18389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WORLD MAP">
    <p:bg>
      <p:bgPr>
        <a:solidFill>
          <a:srgbClr val="2B00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4B2E09-5AA7-F94D-929B-98BBF584D59A}" type="datetime3">
              <a:rPr lang="en-US" smtClean="0"/>
              <a:pPr/>
              <a:t>23 July 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C1A1175-CF73-5649-9406-0D82488373D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5118" y="718540"/>
            <a:ext cx="11412636" cy="565626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/>
          <a:srcRect r="63744" b="-701"/>
          <a:stretch/>
        </p:blipFill>
        <p:spPr>
          <a:xfrm>
            <a:off x="329184" y="6252436"/>
            <a:ext cx="384926" cy="40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220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PAGE TANGERINE COMMUNIT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B5DBBAE-2EFD-2244-9EB2-5B025B1584F2}"/>
              </a:ext>
            </a:extLst>
          </p:cNvPr>
          <p:cNvSpPr/>
          <p:nvPr userDrawn="1"/>
        </p:nvSpPr>
        <p:spPr>
          <a:xfrm>
            <a:off x="0" y="6080499"/>
            <a:ext cx="764088" cy="764088"/>
          </a:xfrm>
          <a:prstGeom prst="rect">
            <a:avLst/>
          </a:prstGeom>
          <a:solidFill>
            <a:srgbClr val="FF61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4F07272-15A4-0748-999E-8D6BECC86814}" type="datetime3">
              <a:rPr lang="en-US" smtClean="0"/>
              <a:t>23 July 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F3524E7-4CDC-944D-AA11-FA206C0D28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4326" y="341313"/>
            <a:ext cx="4740274" cy="1141412"/>
          </a:xfrm>
        </p:spPr>
        <p:txBody>
          <a:bodyPr/>
          <a:lstStyle>
            <a:lvl1pPr marL="242888" indent="-227013">
              <a:lnSpc>
                <a:spcPts val="3600"/>
              </a:lnSpc>
              <a:tabLst/>
              <a:defRPr sz="3200" cap="none" baseline="0">
                <a:solidFill>
                  <a:schemeClr val="bg1"/>
                </a:solidFill>
              </a:defRPr>
            </a:lvl1pPr>
            <a:lvl2pPr marL="242888" indent="0">
              <a:spcBef>
                <a:spcPts val="600"/>
              </a:spcBef>
              <a:buFontTx/>
              <a:buNone/>
              <a:tabLst/>
              <a:defRPr sz="1400" b="1" cap="all" baseline="0">
                <a:solidFill>
                  <a:schemeClr val="bg1"/>
                </a:solidFill>
              </a:defRPr>
            </a:lvl2pPr>
            <a:lvl3pPr marL="242888" indent="0">
              <a:buFontTx/>
              <a:buNone/>
              <a:tabLst/>
              <a:defRPr sz="1400" cap="all" baseline="0">
                <a:solidFill>
                  <a:schemeClr val="bg1"/>
                </a:solidFill>
              </a:defRPr>
            </a:lvl3pPr>
            <a:lvl4pPr marL="17463" indent="0">
              <a:buFontTx/>
              <a:buNone/>
              <a:tabLst/>
              <a:defRPr sz="3200">
                <a:solidFill>
                  <a:schemeClr val="bg1"/>
                </a:solidFill>
              </a:defRPr>
            </a:lvl4pPr>
            <a:lvl5pPr marL="17463" indent="0">
              <a:buFontTx/>
              <a:buNone/>
              <a:tabLst/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“	Quote</a:t>
            </a:r>
          </a:p>
          <a:p>
            <a:pPr lvl="1"/>
            <a:r>
              <a:rPr lang="en-US" dirty="0"/>
              <a:t>Name</a:t>
            </a:r>
          </a:p>
          <a:p>
            <a:pPr lvl="2"/>
            <a:r>
              <a:rPr lang="en-US" dirty="0"/>
              <a:t>title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605E7F8-BFFF-4854-B6E6-FCA04480712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198876" y="341313"/>
            <a:ext cx="5760071" cy="5758791"/>
            <a:chOff x="3875" y="-667"/>
            <a:chExt cx="4498" cy="4497"/>
          </a:xfrm>
        </p:grpSpPr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7F860D94-8B20-4CF4-8DD3-5C20EA725803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3875" y="-667"/>
              <a:ext cx="4498" cy="4497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BC8947C4-F833-4E96-9D50-5B72CDF670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5" y="-667"/>
              <a:ext cx="1503" cy="1503"/>
            </a:xfrm>
            <a:custGeom>
              <a:avLst/>
              <a:gdLst>
                <a:gd name="T0" fmla="*/ 959 w 959"/>
                <a:gd name="T1" fmla="*/ 479 h 959"/>
                <a:gd name="T2" fmla="*/ 959 w 959"/>
                <a:gd name="T3" fmla="*/ 479 h 959"/>
                <a:gd name="T4" fmla="*/ 479 w 959"/>
                <a:gd name="T5" fmla="*/ 959 h 959"/>
                <a:gd name="T6" fmla="*/ 0 w 959"/>
                <a:gd name="T7" fmla="*/ 479 h 959"/>
                <a:gd name="T8" fmla="*/ 479 w 959"/>
                <a:gd name="T9" fmla="*/ 0 h 959"/>
                <a:gd name="T10" fmla="*/ 959 w 959"/>
                <a:gd name="T11" fmla="*/ 479 h 9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59" h="959">
                  <a:moveTo>
                    <a:pt x="959" y="479"/>
                  </a:moveTo>
                  <a:lnTo>
                    <a:pt x="959" y="479"/>
                  </a:lnTo>
                  <a:cubicBezTo>
                    <a:pt x="959" y="744"/>
                    <a:pt x="745" y="959"/>
                    <a:pt x="479" y="959"/>
                  </a:cubicBezTo>
                  <a:cubicBezTo>
                    <a:pt x="214" y="959"/>
                    <a:pt x="0" y="744"/>
                    <a:pt x="0" y="479"/>
                  </a:cubicBezTo>
                  <a:cubicBezTo>
                    <a:pt x="0" y="213"/>
                    <a:pt x="214" y="0"/>
                    <a:pt x="479" y="0"/>
                  </a:cubicBezTo>
                  <a:cubicBezTo>
                    <a:pt x="745" y="0"/>
                    <a:pt x="959" y="213"/>
                    <a:pt x="959" y="479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B9B0B8E4-E660-4E00-8AD0-A624BD4D23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8" y="-667"/>
              <a:ext cx="1505" cy="1503"/>
            </a:xfrm>
            <a:custGeom>
              <a:avLst/>
              <a:gdLst>
                <a:gd name="T0" fmla="*/ 960 w 960"/>
                <a:gd name="T1" fmla="*/ 479 h 959"/>
                <a:gd name="T2" fmla="*/ 960 w 960"/>
                <a:gd name="T3" fmla="*/ 479 h 959"/>
                <a:gd name="T4" fmla="*/ 480 w 960"/>
                <a:gd name="T5" fmla="*/ 959 h 959"/>
                <a:gd name="T6" fmla="*/ 0 w 960"/>
                <a:gd name="T7" fmla="*/ 479 h 959"/>
                <a:gd name="T8" fmla="*/ 480 w 960"/>
                <a:gd name="T9" fmla="*/ 0 h 959"/>
                <a:gd name="T10" fmla="*/ 960 w 960"/>
                <a:gd name="T11" fmla="*/ 479 h 9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60" h="959">
                  <a:moveTo>
                    <a:pt x="960" y="479"/>
                  </a:moveTo>
                  <a:lnTo>
                    <a:pt x="960" y="479"/>
                  </a:lnTo>
                  <a:cubicBezTo>
                    <a:pt x="960" y="744"/>
                    <a:pt x="746" y="959"/>
                    <a:pt x="480" y="959"/>
                  </a:cubicBezTo>
                  <a:cubicBezTo>
                    <a:pt x="215" y="959"/>
                    <a:pt x="0" y="744"/>
                    <a:pt x="0" y="479"/>
                  </a:cubicBezTo>
                  <a:cubicBezTo>
                    <a:pt x="0" y="213"/>
                    <a:pt x="215" y="0"/>
                    <a:pt x="480" y="0"/>
                  </a:cubicBezTo>
                  <a:cubicBezTo>
                    <a:pt x="746" y="0"/>
                    <a:pt x="960" y="213"/>
                    <a:pt x="960" y="479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9EA2C4C6-405C-4E47-B94A-3114ABF74D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83" y="-667"/>
              <a:ext cx="1505" cy="1503"/>
            </a:xfrm>
            <a:custGeom>
              <a:avLst/>
              <a:gdLst>
                <a:gd name="T0" fmla="*/ 960 w 960"/>
                <a:gd name="T1" fmla="*/ 479 h 959"/>
                <a:gd name="T2" fmla="*/ 960 w 960"/>
                <a:gd name="T3" fmla="*/ 479 h 959"/>
                <a:gd name="T4" fmla="*/ 480 w 960"/>
                <a:gd name="T5" fmla="*/ 959 h 959"/>
                <a:gd name="T6" fmla="*/ 0 w 960"/>
                <a:gd name="T7" fmla="*/ 479 h 959"/>
                <a:gd name="T8" fmla="*/ 480 w 960"/>
                <a:gd name="T9" fmla="*/ 0 h 959"/>
                <a:gd name="T10" fmla="*/ 960 w 960"/>
                <a:gd name="T11" fmla="*/ 479 h 9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60" h="959">
                  <a:moveTo>
                    <a:pt x="960" y="479"/>
                  </a:moveTo>
                  <a:lnTo>
                    <a:pt x="960" y="479"/>
                  </a:lnTo>
                  <a:cubicBezTo>
                    <a:pt x="960" y="744"/>
                    <a:pt x="746" y="959"/>
                    <a:pt x="480" y="959"/>
                  </a:cubicBezTo>
                  <a:cubicBezTo>
                    <a:pt x="215" y="959"/>
                    <a:pt x="0" y="744"/>
                    <a:pt x="0" y="479"/>
                  </a:cubicBezTo>
                  <a:cubicBezTo>
                    <a:pt x="0" y="213"/>
                    <a:pt x="215" y="0"/>
                    <a:pt x="480" y="0"/>
                  </a:cubicBezTo>
                  <a:cubicBezTo>
                    <a:pt x="746" y="0"/>
                    <a:pt x="960" y="213"/>
                    <a:pt x="960" y="479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1EA6BEFF-BF53-434E-8A49-CD6304A283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5" y="836"/>
              <a:ext cx="1503" cy="1505"/>
            </a:xfrm>
            <a:custGeom>
              <a:avLst/>
              <a:gdLst>
                <a:gd name="T0" fmla="*/ 959 w 959"/>
                <a:gd name="T1" fmla="*/ 480 h 960"/>
                <a:gd name="T2" fmla="*/ 959 w 959"/>
                <a:gd name="T3" fmla="*/ 480 h 960"/>
                <a:gd name="T4" fmla="*/ 479 w 959"/>
                <a:gd name="T5" fmla="*/ 960 h 960"/>
                <a:gd name="T6" fmla="*/ 0 w 959"/>
                <a:gd name="T7" fmla="*/ 480 h 960"/>
                <a:gd name="T8" fmla="*/ 479 w 959"/>
                <a:gd name="T9" fmla="*/ 0 h 960"/>
                <a:gd name="T10" fmla="*/ 959 w 959"/>
                <a:gd name="T11" fmla="*/ 480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59" h="960">
                  <a:moveTo>
                    <a:pt x="959" y="480"/>
                  </a:moveTo>
                  <a:lnTo>
                    <a:pt x="959" y="480"/>
                  </a:lnTo>
                  <a:cubicBezTo>
                    <a:pt x="959" y="745"/>
                    <a:pt x="745" y="960"/>
                    <a:pt x="479" y="960"/>
                  </a:cubicBezTo>
                  <a:cubicBezTo>
                    <a:pt x="214" y="960"/>
                    <a:pt x="0" y="745"/>
                    <a:pt x="0" y="480"/>
                  </a:cubicBezTo>
                  <a:cubicBezTo>
                    <a:pt x="0" y="214"/>
                    <a:pt x="214" y="0"/>
                    <a:pt x="479" y="0"/>
                  </a:cubicBezTo>
                  <a:cubicBezTo>
                    <a:pt x="745" y="0"/>
                    <a:pt x="959" y="214"/>
                    <a:pt x="959" y="480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9E044A9D-29C1-4EA1-82ED-9BE0B8A679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8" y="836"/>
              <a:ext cx="1505" cy="1505"/>
            </a:xfrm>
            <a:custGeom>
              <a:avLst/>
              <a:gdLst>
                <a:gd name="T0" fmla="*/ 960 w 960"/>
                <a:gd name="T1" fmla="*/ 480 h 960"/>
                <a:gd name="T2" fmla="*/ 960 w 960"/>
                <a:gd name="T3" fmla="*/ 480 h 960"/>
                <a:gd name="T4" fmla="*/ 480 w 960"/>
                <a:gd name="T5" fmla="*/ 960 h 960"/>
                <a:gd name="T6" fmla="*/ 0 w 960"/>
                <a:gd name="T7" fmla="*/ 480 h 960"/>
                <a:gd name="T8" fmla="*/ 480 w 960"/>
                <a:gd name="T9" fmla="*/ 0 h 960"/>
                <a:gd name="T10" fmla="*/ 960 w 960"/>
                <a:gd name="T11" fmla="*/ 480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60" h="960">
                  <a:moveTo>
                    <a:pt x="960" y="480"/>
                  </a:moveTo>
                  <a:lnTo>
                    <a:pt x="960" y="480"/>
                  </a:lnTo>
                  <a:cubicBezTo>
                    <a:pt x="960" y="745"/>
                    <a:pt x="746" y="960"/>
                    <a:pt x="480" y="960"/>
                  </a:cubicBezTo>
                  <a:cubicBezTo>
                    <a:pt x="215" y="960"/>
                    <a:pt x="0" y="745"/>
                    <a:pt x="0" y="480"/>
                  </a:cubicBezTo>
                  <a:cubicBezTo>
                    <a:pt x="0" y="214"/>
                    <a:pt x="215" y="0"/>
                    <a:pt x="480" y="0"/>
                  </a:cubicBezTo>
                  <a:cubicBezTo>
                    <a:pt x="746" y="0"/>
                    <a:pt x="960" y="214"/>
                    <a:pt x="960" y="480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F7967AD3-9699-483F-963E-7DDADA633A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83" y="836"/>
              <a:ext cx="1505" cy="1505"/>
            </a:xfrm>
            <a:custGeom>
              <a:avLst/>
              <a:gdLst>
                <a:gd name="T0" fmla="*/ 960 w 960"/>
                <a:gd name="T1" fmla="*/ 480 h 960"/>
                <a:gd name="T2" fmla="*/ 960 w 960"/>
                <a:gd name="T3" fmla="*/ 480 h 960"/>
                <a:gd name="T4" fmla="*/ 480 w 960"/>
                <a:gd name="T5" fmla="*/ 960 h 960"/>
                <a:gd name="T6" fmla="*/ 0 w 960"/>
                <a:gd name="T7" fmla="*/ 480 h 960"/>
                <a:gd name="T8" fmla="*/ 480 w 960"/>
                <a:gd name="T9" fmla="*/ 0 h 960"/>
                <a:gd name="T10" fmla="*/ 960 w 960"/>
                <a:gd name="T11" fmla="*/ 480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60" h="960">
                  <a:moveTo>
                    <a:pt x="960" y="480"/>
                  </a:moveTo>
                  <a:lnTo>
                    <a:pt x="960" y="480"/>
                  </a:lnTo>
                  <a:cubicBezTo>
                    <a:pt x="960" y="745"/>
                    <a:pt x="746" y="960"/>
                    <a:pt x="480" y="960"/>
                  </a:cubicBezTo>
                  <a:cubicBezTo>
                    <a:pt x="215" y="960"/>
                    <a:pt x="0" y="745"/>
                    <a:pt x="0" y="480"/>
                  </a:cubicBezTo>
                  <a:cubicBezTo>
                    <a:pt x="0" y="214"/>
                    <a:pt x="215" y="0"/>
                    <a:pt x="480" y="0"/>
                  </a:cubicBezTo>
                  <a:cubicBezTo>
                    <a:pt x="746" y="0"/>
                    <a:pt x="960" y="214"/>
                    <a:pt x="960" y="480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96C94242-5213-438F-B495-E50304E1D1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5" y="2341"/>
              <a:ext cx="1503" cy="1504"/>
            </a:xfrm>
            <a:custGeom>
              <a:avLst/>
              <a:gdLst>
                <a:gd name="T0" fmla="*/ 959 w 959"/>
                <a:gd name="T1" fmla="*/ 480 h 960"/>
                <a:gd name="T2" fmla="*/ 959 w 959"/>
                <a:gd name="T3" fmla="*/ 480 h 960"/>
                <a:gd name="T4" fmla="*/ 479 w 959"/>
                <a:gd name="T5" fmla="*/ 960 h 960"/>
                <a:gd name="T6" fmla="*/ 0 w 959"/>
                <a:gd name="T7" fmla="*/ 480 h 960"/>
                <a:gd name="T8" fmla="*/ 479 w 959"/>
                <a:gd name="T9" fmla="*/ 0 h 960"/>
                <a:gd name="T10" fmla="*/ 959 w 959"/>
                <a:gd name="T11" fmla="*/ 480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59" h="960">
                  <a:moveTo>
                    <a:pt x="959" y="480"/>
                  </a:moveTo>
                  <a:lnTo>
                    <a:pt x="959" y="480"/>
                  </a:lnTo>
                  <a:cubicBezTo>
                    <a:pt x="959" y="745"/>
                    <a:pt x="745" y="960"/>
                    <a:pt x="479" y="960"/>
                  </a:cubicBezTo>
                  <a:cubicBezTo>
                    <a:pt x="214" y="960"/>
                    <a:pt x="0" y="745"/>
                    <a:pt x="0" y="480"/>
                  </a:cubicBezTo>
                  <a:cubicBezTo>
                    <a:pt x="0" y="214"/>
                    <a:pt x="214" y="0"/>
                    <a:pt x="479" y="0"/>
                  </a:cubicBezTo>
                  <a:cubicBezTo>
                    <a:pt x="745" y="0"/>
                    <a:pt x="959" y="214"/>
                    <a:pt x="959" y="480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E821AEC0-B07B-4385-B8C0-63F0DF350B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78" y="2341"/>
              <a:ext cx="1505" cy="1504"/>
            </a:xfrm>
            <a:custGeom>
              <a:avLst/>
              <a:gdLst>
                <a:gd name="T0" fmla="*/ 960 w 960"/>
                <a:gd name="T1" fmla="*/ 480 h 960"/>
                <a:gd name="T2" fmla="*/ 960 w 960"/>
                <a:gd name="T3" fmla="*/ 480 h 960"/>
                <a:gd name="T4" fmla="*/ 480 w 960"/>
                <a:gd name="T5" fmla="*/ 960 h 960"/>
                <a:gd name="T6" fmla="*/ 0 w 960"/>
                <a:gd name="T7" fmla="*/ 480 h 960"/>
                <a:gd name="T8" fmla="*/ 480 w 960"/>
                <a:gd name="T9" fmla="*/ 0 h 960"/>
                <a:gd name="T10" fmla="*/ 960 w 960"/>
                <a:gd name="T11" fmla="*/ 480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60" h="960">
                  <a:moveTo>
                    <a:pt x="960" y="480"/>
                  </a:moveTo>
                  <a:lnTo>
                    <a:pt x="960" y="480"/>
                  </a:lnTo>
                  <a:cubicBezTo>
                    <a:pt x="960" y="745"/>
                    <a:pt x="746" y="960"/>
                    <a:pt x="480" y="960"/>
                  </a:cubicBezTo>
                  <a:cubicBezTo>
                    <a:pt x="215" y="960"/>
                    <a:pt x="0" y="745"/>
                    <a:pt x="0" y="480"/>
                  </a:cubicBezTo>
                  <a:cubicBezTo>
                    <a:pt x="0" y="214"/>
                    <a:pt x="215" y="0"/>
                    <a:pt x="480" y="0"/>
                  </a:cubicBezTo>
                  <a:cubicBezTo>
                    <a:pt x="746" y="0"/>
                    <a:pt x="960" y="214"/>
                    <a:pt x="960" y="480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F6C47BB6-8E1A-4713-87AE-0BEDA08993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83" y="2341"/>
              <a:ext cx="1505" cy="1504"/>
            </a:xfrm>
            <a:custGeom>
              <a:avLst/>
              <a:gdLst>
                <a:gd name="T0" fmla="*/ 960 w 960"/>
                <a:gd name="T1" fmla="*/ 480 h 960"/>
                <a:gd name="T2" fmla="*/ 960 w 960"/>
                <a:gd name="T3" fmla="*/ 480 h 960"/>
                <a:gd name="T4" fmla="*/ 480 w 960"/>
                <a:gd name="T5" fmla="*/ 960 h 960"/>
                <a:gd name="T6" fmla="*/ 0 w 960"/>
                <a:gd name="T7" fmla="*/ 480 h 960"/>
                <a:gd name="T8" fmla="*/ 480 w 960"/>
                <a:gd name="T9" fmla="*/ 0 h 960"/>
                <a:gd name="T10" fmla="*/ 960 w 960"/>
                <a:gd name="T11" fmla="*/ 480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60" h="960">
                  <a:moveTo>
                    <a:pt x="960" y="480"/>
                  </a:moveTo>
                  <a:lnTo>
                    <a:pt x="960" y="480"/>
                  </a:lnTo>
                  <a:cubicBezTo>
                    <a:pt x="960" y="745"/>
                    <a:pt x="746" y="960"/>
                    <a:pt x="480" y="960"/>
                  </a:cubicBezTo>
                  <a:cubicBezTo>
                    <a:pt x="215" y="960"/>
                    <a:pt x="0" y="745"/>
                    <a:pt x="0" y="480"/>
                  </a:cubicBezTo>
                  <a:cubicBezTo>
                    <a:pt x="0" y="214"/>
                    <a:pt x="215" y="0"/>
                    <a:pt x="480" y="0"/>
                  </a:cubicBezTo>
                  <a:cubicBezTo>
                    <a:pt x="746" y="0"/>
                    <a:pt x="960" y="214"/>
                    <a:pt x="960" y="480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2"/>
          <a:srcRect r="63744" b="-701"/>
          <a:stretch/>
        </p:blipFill>
        <p:spPr>
          <a:xfrm>
            <a:off x="329184" y="6252436"/>
            <a:ext cx="384926" cy="40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4306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2DBA39E-56F5-BC41-88A8-C93F16A84D6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191000" y="0"/>
            <a:ext cx="8001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F8964B-446E-124E-9C40-795014D96DC3}" type="datetime3">
              <a:rPr lang="en-US" smtClean="0"/>
              <a:t>23 July 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F3524E7-4CDC-944D-AA11-FA206C0D28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4326" y="341313"/>
            <a:ext cx="3760787" cy="1141412"/>
          </a:xfrm>
        </p:spPr>
        <p:txBody>
          <a:bodyPr/>
          <a:lstStyle>
            <a:lvl1pPr marL="242888" indent="-227013">
              <a:lnSpc>
                <a:spcPts val="4200"/>
              </a:lnSpc>
              <a:tabLst/>
              <a:defRPr sz="3200" cap="none" baseline="0">
                <a:solidFill>
                  <a:schemeClr val="tx1"/>
                </a:solidFill>
              </a:defRPr>
            </a:lvl1pPr>
            <a:lvl2pPr marL="242888" indent="0">
              <a:spcBef>
                <a:spcPts val="600"/>
              </a:spcBef>
              <a:buFontTx/>
              <a:buNone/>
              <a:tabLst/>
              <a:defRPr sz="1400" b="1" cap="all" baseline="0">
                <a:solidFill>
                  <a:schemeClr val="tx1"/>
                </a:solidFill>
              </a:defRPr>
            </a:lvl2pPr>
            <a:lvl3pPr marL="242888" indent="0">
              <a:buFontTx/>
              <a:buNone/>
              <a:tabLst/>
              <a:defRPr sz="1400" cap="all" baseline="0">
                <a:solidFill>
                  <a:schemeClr val="tx1"/>
                </a:solidFill>
              </a:defRPr>
            </a:lvl3pPr>
            <a:lvl4pPr marL="17463" indent="0">
              <a:buFontTx/>
              <a:buNone/>
              <a:tabLst/>
              <a:defRPr sz="3200">
                <a:solidFill>
                  <a:schemeClr val="tx1"/>
                </a:solidFill>
              </a:defRPr>
            </a:lvl4pPr>
            <a:lvl5pPr marL="17463" indent="0">
              <a:buFontTx/>
              <a:buNone/>
              <a:tabLst/>
              <a:defRPr sz="3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“	Quote</a:t>
            </a:r>
          </a:p>
          <a:p>
            <a:pPr lvl="1"/>
            <a:r>
              <a:rPr lang="en-US" dirty="0"/>
              <a:t>Name</a:t>
            </a:r>
          </a:p>
          <a:p>
            <a:pPr lvl="2"/>
            <a:r>
              <a:rPr lang="en-US" dirty="0"/>
              <a:t>title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/>
          <a:srcRect r="61205" b="-4710"/>
          <a:stretch/>
        </p:blipFill>
        <p:spPr>
          <a:xfrm>
            <a:off x="314325" y="6201058"/>
            <a:ext cx="348283" cy="358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98178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PAGE 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0A68A428-BAF3-514A-BD02-2396365EE3F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68043CF-4FB5-F147-9BE4-BDE679ABC9CD}" type="datetime3">
              <a:rPr lang="en-US" smtClean="0"/>
              <a:t>23 July 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F3524E7-4CDC-944D-AA11-FA206C0D28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4326" y="341313"/>
            <a:ext cx="3760787" cy="1141412"/>
          </a:xfrm>
        </p:spPr>
        <p:txBody>
          <a:bodyPr/>
          <a:lstStyle>
            <a:lvl1pPr marL="242888" indent="-227013">
              <a:lnSpc>
                <a:spcPts val="4200"/>
              </a:lnSpc>
              <a:tabLst/>
              <a:defRPr sz="3200" cap="none" baseline="0">
                <a:solidFill>
                  <a:schemeClr val="bg1"/>
                </a:solidFill>
              </a:defRPr>
            </a:lvl1pPr>
            <a:lvl2pPr marL="242888" indent="0">
              <a:spcBef>
                <a:spcPts val="600"/>
              </a:spcBef>
              <a:buFontTx/>
              <a:buNone/>
              <a:tabLst/>
              <a:defRPr sz="1400" b="1" cap="all" baseline="0">
                <a:solidFill>
                  <a:schemeClr val="bg1"/>
                </a:solidFill>
              </a:defRPr>
            </a:lvl2pPr>
            <a:lvl3pPr marL="242888" indent="0">
              <a:buFontTx/>
              <a:buNone/>
              <a:tabLst/>
              <a:defRPr sz="1400" cap="all" baseline="0">
                <a:solidFill>
                  <a:schemeClr val="bg1"/>
                </a:solidFill>
              </a:defRPr>
            </a:lvl3pPr>
            <a:lvl4pPr marL="17463" indent="0">
              <a:buFontTx/>
              <a:buNone/>
              <a:tabLst/>
              <a:defRPr sz="3200">
                <a:solidFill>
                  <a:schemeClr val="bg1"/>
                </a:solidFill>
              </a:defRPr>
            </a:lvl4pPr>
            <a:lvl5pPr marL="17463" indent="0">
              <a:buFontTx/>
              <a:buNone/>
              <a:tabLst/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“	Quote</a:t>
            </a:r>
          </a:p>
          <a:p>
            <a:pPr lvl="1"/>
            <a:r>
              <a:rPr lang="en-US" dirty="0"/>
              <a:t>Name</a:t>
            </a:r>
          </a:p>
          <a:p>
            <a:pPr lvl="2"/>
            <a:r>
              <a:rPr lang="en-US" dirty="0"/>
              <a:t>title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3522E1C-1301-0448-B26E-22AB81CB01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47285" y="5187550"/>
            <a:ext cx="863600" cy="8636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0C32B95-5454-0F45-91FC-4B9C3F2E565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14070" y="3224893"/>
            <a:ext cx="864453" cy="86445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C8DF3E4-C99C-F54D-9967-C9859511BC0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14070" y="1302004"/>
            <a:ext cx="855663" cy="85566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3C10FF9-D064-E549-8FFE-2967DFB3D6C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087519" y="5232181"/>
            <a:ext cx="849311" cy="84931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DCF404A-CD11-014B-850A-0DEFD74DCA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lum bright="100000"/>
          </a:blip>
          <a:stretch>
            <a:fillRect/>
          </a:stretch>
        </p:blipFill>
        <p:spPr>
          <a:xfrm>
            <a:off x="9078118" y="1287463"/>
            <a:ext cx="849312" cy="84931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D4D75CB-2025-994D-A230-C5B351D7637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lum bright="100000"/>
          </a:blip>
          <a:stretch>
            <a:fillRect/>
          </a:stretch>
        </p:blipFill>
        <p:spPr>
          <a:xfrm rot="16200000">
            <a:off x="11015091" y="4229836"/>
            <a:ext cx="847725" cy="84772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6F0B838-2D08-FB4F-8A7C-9A51932B636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lum bright="100000"/>
          </a:blip>
          <a:stretch>
            <a:fillRect/>
          </a:stretch>
        </p:blipFill>
        <p:spPr>
          <a:xfrm>
            <a:off x="10058347" y="292894"/>
            <a:ext cx="869156" cy="86915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00B4217-3240-DA45-9B16-53450D607F5C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044113" y="2262188"/>
            <a:ext cx="847725" cy="84772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10"/>
          <a:srcRect r="63744" b="-701"/>
          <a:stretch/>
        </p:blipFill>
        <p:spPr>
          <a:xfrm>
            <a:off x="329184" y="6252436"/>
            <a:ext cx="384926" cy="40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5298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BLUE MULTI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9184" y="3236976"/>
            <a:ext cx="4842891" cy="961962"/>
          </a:xfrm>
        </p:spPr>
        <p:txBody>
          <a:bodyPr anchor="t" anchorCtr="0"/>
          <a:lstStyle>
            <a:lvl1pPr algn="l">
              <a:lnSpc>
                <a:spcPts val="5000"/>
              </a:lnSpc>
              <a:defRPr sz="48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CA42439-A9CE-0B42-AF84-203A508965B7}"/>
              </a:ext>
            </a:extLst>
          </p:cNvPr>
          <p:cNvSpPr/>
          <p:nvPr userDrawn="1"/>
        </p:nvSpPr>
        <p:spPr>
          <a:xfrm>
            <a:off x="0" y="6080499"/>
            <a:ext cx="764088" cy="764088"/>
          </a:xfrm>
          <a:prstGeom prst="rect">
            <a:avLst/>
          </a:prstGeom>
          <a:solidFill>
            <a:srgbClr val="06BF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BC7D827-D31E-AE44-AD3E-AE621346A3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5589" y="6248181"/>
            <a:ext cx="411480" cy="41148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C32C4C2-5012-8A4E-9976-D06B71975E4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26915" y="3253101"/>
            <a:ext cx="863600" cy="8636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127EC68-2C75-BA45-9985-62B9AA96206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17250" y="2252663"/>
            <a:ext cx="864453" cy="86445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D9537E7A-1C25-2C41-A190-05050CC53E0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076576" y="4198938"/>
            <a:ext cx="847725" cy="84772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76977E99-4A69-794B-BD3C-48DA4888475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120516" y="2252663"/>
            <a:ext cx="854075" cy="854075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CE4EE1B-2FEB-154C-8F29-E45EE5E328D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lum bright="100000"/>
          </a:blip>
          <a:stretch>
            <a:fillRect/>
          </a:stretch>
        </p:blipFill>
        <p:spPr>
          <a:xfrm>
            <a:off x="10042526" y="4231936"/>
            <a:ext cx="849312" cy="849312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D2EE7049-3688-B94D-848E-9AB6B82282D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lum bright="100000"/>
          </a:blip>
          <a:stretch>
            <a:fillRect/>
          </a:stretch>
        </p:blipFill>
        <p:spPr>
          <a:xfrm>
            <a:off x="10022682" y="258988"/>
            <a:ext cx="869156" cy="869156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C15D96E2-281C-3F46-8843-E17D1E113E7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1042790" y="5195488"/>
            <a:ext cx="847725" cy="84772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7E8B41F-2066-2542-8B55-00B3A99114F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5157165" y="3232152"/>
            <a:ext cx="849311" cy="849311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FA4EF2AE-B99C-A040-A78B-F57F39D8501E}"/>
              </a:ext>
            </a:extLst>
          </p:cNvPr>
          <p:cNvSpPr/>
          <p:nvPr userDrawn="1"/>
        </p:nvSpPr>
        <p:spPr>
          <a:xfrm>
            <a:off x="16606" y="6093912"/>
            <a:ext cx="1032112" cy="764088"/>
          </a:xfrm>
          <a:prstGeom prst="rect">
            <a:avLst/>
          </a:prstGeom>
          <a:solidFill>
            <a:srgbClr val="05BF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BE85A7E4-2FFE-0946-A6A4-F5850AC16E7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120516" y="5175477"/>
            <a:ext cx="854075" cy="854075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5A90BBA-61FE-FC47-9A99-54BEB00FC5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14325" y="5081588"/>
            <a:ext cx="4740275" cy="1012825"/>
          </a:xfrm>
        </p:spPr>
        <p:txBody>
          <a:bodyPr/>
          <a:lstStyle>
            <a:lvl1pPr>
              <a:spcBef>
                <a:spcPts val="0"/>
              </a:spcBef>
              <a:defRPr sz="1400" cap="all" baseline="0">
                <a:solidFill>
                  <a:schemeClr val="bg1"/>
                </a:solidFill>
              </a:defRPr>
            </a:lvl1pPr>
            <a:lvl2pPr marL="12700" indent="0">
              <a:buFontTx/>
              <a:buNone/>
              <a:tabLst/>
              <a:defRPr sz="1400">
                <a:solidFill>
                  <a:schemeClr val="bg1"/>
                </a:solidFill>
              </a:defRPr>
            </a:lvl2pPr>
            <a:lvl3pPr marL="12700" indent="0">
              <a:buFontTx/>
              <a:buNone/>
              <a:tabLst/>
              <a:defRPr sz="1400">
                <a:solidFill>
                  <a:schemeClr val="bg1"/>
                </a:solidFill>
              </a:defRPr>
            </a:lvl3pPr>
            <a:lvl4pPr marL="12700" indent="0">
              <a:buFontTx/>
              <a:buNone/>
              <a:tabLst/>
              <a:defRPr sz="1400">
                <a:solidFill>
                  <a:schemeClr val="bg1"/>
                </a:solidFill>
              </a:defRPr>
            </a:lvl4pPr>
            <a:lvl5pPr marL="12700" indent="0">
              <a:buFontTx/>
              <a:buNone/>
              <a:tabLst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325" y="304802"/>
            <a:ext cx="3115062" cy="1179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94528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MI RGB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32DF4E-9F15-7448-8B6E-B9F8DAB7F757}" type="datetime3">
              <a:rPr lang="en-US" smtClean="0"/>
              <a:t>23 July 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CA7FC9E-D21E-0842-B9A4-C1381DD0D750}"/>
              </a:ext>
            </a:extLst>
          </p:cNvPr>
          <p:cNvSpPr/>
          <p:nvPr userDrawn="1"/>
        </p:nvSpPr>
        <p:spPr>
          <a:xfrm>
            <a:off x="8089897" y="1287463"/>
            <a:ext cx="2801941" cy="846137"/>
          </a:xfrm>
          <a:prstGeom prst="rect">
            <a:avLst/>
          </a:prstGeom>
          <a:solidFill>
            <a:srgbClr val="4F17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1400" dirty="0"/>
              <a:t>VIOLET</a:t>
            </a:r>
          </a:p>
          <a:p>
            <a:pPr algn="l"/>
            <a:r>
              <a:rPr lang="en-US" sz="1800" b="1" dirty="0"/>
              <a:t>79</a:t>
            </a:r>
            <a:r>
              <a:rPr lang="en-US" sz="1800" dirty="0"/>
              <a:t>  /  </a:t>
            </a:r>
            <a:r>
              <a:rPr lang="en-US" sz="1800" b="1" dirty="0"/>
              <a:t>23</a:t>
            </a:r>
            <a:r>
              <a:rPr lang="en-US" sz="1800" dirty="0"/>
              <a:t>  /  </a:t>
            </a:r>
            <a:r>
              <a:rPr lang="en-US" sz="1800" b="1" dirty="0"/>
              <a:t>168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9A261B9-ADC3-7D43-A0C2-8F1E9644156B}"/>
              </a:ext>
            </a:extLst>
          </p:cNvPr>
          <p:cNvSpPr/>
          <p:nvPr userDrawn="1"/>
        </p:nvSpPr>
        <p:spPr>
          <a:xfrm>
            <a:off x="8089897" y="2252663"/>
            <a:ext cx="2809876" cy="863600"/>
          </a:xfrm>
          <a:prstGeom prst="rect">
            <a:avLst/>
          </a:prstGeom>
          <a:solidFill>
            <a:srgbClr val="2B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1400" dirty="0"/>
              <a:t>DARK VIOLET</a:t>
            </a:r>
          </a:p>
          <a:p>
            <a:pPr algn="l"/>
            <a:r>
              <a:rPr lang="en-US" sz="1800" b="1" dirty="0"/>
              <a:t>43</a:t>
            </a:r>
            <a:r>
              <a:rPr lang="en-US" sz="1800" dirty="0"/>
              <a:t>  /  </a:t>
            </a:r>
            <a:r>
              <a:rPr lang="en-US" sz="1800" b="1" dirty="0"/>
              <a:t>0</a:t>
            </a:r>
            <a:r>
              <a:rPr lang="en-US" sz="1800" dirty="0"/>
              <a:t>  /  </a:t>
            </a:r>
            <a:r>
              <a:rPr lang="en-US" sz="1800" b="1" dirty="0"/>
              <a:t>140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05E0A6B-1DE3-8942-9126-297061B387D2}"/>
              </a:ext>
            </a:extLst>
          </p:cNvPr>
          <p:cNvSpPr/>
          <p:nvPr userDrawn="1"/>
        </p:nvSpPr>
        <p:spPr>
          <a:xfrm>
            <a:off x="8097838" y="3233738"/>
            <a:ext cx="2809876" cy="846137"/>
          </a:xfrm>
          <a:prstGeom prst="rect">
            <a:avLst/>
          </a:prstGeom>
          <a:solidFill>
            <a:srgbClr val="8A66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1400" dirty="0"/>
              <a:t>MID VIOLET</a:t>
            </a:r>
          </a:p>
          <a:p>
            <a:pPr algn="l"/>
            <a:r>
              <a:rPr lang="en-US" sz="1800" b="1" dirty="0"/>
              <a:t>138</a:t>
            </a:r>
            <a:r>
              <a:rPr lang="en-US" sz="1800" dirty="0"/>
              <a:t>  /  </a:t>
            </a:r>
            <a:r>
              <a:rPr lang="en-US" sz="1800" b="1" dirty="0"/>
              <a:t>102</a:t>
            </a:r>
            <a:r>
              <a:rPr lang="en-US" sz="1800" dirty="0"/>
              <a:t>  /  </a:t>
            </a:r>
            <a:r>
              <a:rPr lang="en-US" sz="1800" b="1" dirty="0"/>
              <a:t>196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9F37323-D8AF-604E-8FF2-9AAD1275006C}"/>
              </a:ext>
            </a:extLst>
          </p:cNvPr>
          <p:cNvSpPr/>
          <p:nvPr userDrawn="1"/>
        </p:nvSpPr>
        <p:spPr>
          <a:xfrm>
            <a:off x="8097837" y="4194020"/>
            <a:ext cx="2794001" cy="855043"/>
          </a:xfrm>
          <a:prstGeom prst="rect">
            <a:avLst/>
          </a:prstGeom>
          <a:solidFill>
            <a:srgbClr val="C4B2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1400" dirty="0">
                <a:solidFill>
                  <a:schemeClr val="tx1"/>
                </a:solidFill>
              </a:rPr>
              <a:t>LIGHT VIOLET</a:t>
            </a:r>
          </a:p>
          <a:p>
            <a:pPr algn="l"/>
            <a:r>
              <a:rPr lang="en-US" sz="1800" b="1" dirty="0">
                <a:solidFill>
                  <a:schemeClr val="tx1"/>
                </a:solidFill>
              </a:rPr>
              <a:t>196</a:t>
            </a:r>
            <a:r>
              <a:rPr lang="en-US" sz="1800" dirty="0">
                <a:solidFill>
                  <a:schemeClr val="tx1"/>
                </a:solidFill>
              </a:rPr>
              <a:t>  /  </a:t>
            </a:r>
            <a:r>
              <a:rPr lang="en-US" sz="1800" b="1" dirty="0">
                <a:solidFill>
                  <a:schemeClr val="tx1"/>
                </a:solidFill>
              </a:rPr>
              <a:t>178</a:t>
            </a:r>
            <a:r>
              <a:rPr lang="en-US" sz="1800" dirty="0">
                <a:solidFill>
                  <a:schemeClr val="tx1"/>
                </a:solidFill>
              </a:rPr>
              <a:t>  /  </a:t>
            </a:r>
            <a:r>
              <a:rPr lang="en-US" sz="1800" b="1" dirty="0">
                <a:solidFill>
                  <a:schemeClr val="tx1"/>
                </a:solidFill>
              </a:rPr>
              <a:t>227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B62AEF3-06EF-774F-8498-183D41E71AE0}"/>
              </a:ext>
            </a:extLst>
          </p:cNvPr>
          <p:cNvSpPr/>
          <p:nvPr userDrawn="1"/>
        </p:nvSpPr>
        <p:spPr>
          <a:xfrm>
            <a:off x="314325" y="1287463"/>
            <a:ext cx="2787650" cy="846137"/>
          </a:xfrm>
          <a:prstGeom prst="rect">
            <a:avLst/>
          </a:prstGeom>
          <a:solidFill>
            <a:srgbClr val="FF61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1400" dirty="0"/>
              <a:t>TANGERINE</a:t>
            </a:r>
          </a:p>
          <a:p>
            <a:pPr algn="l"/>
            <a:r>
              <a:rPr lang="en-US" sz="1800" b="1" dirty="0"/>
              <a:t>255</a:t>
            </a:r>
            <a:r>
              <a:rPr lang="en-US" sz="1800" dirty="0"/>
              <a:t>  /  </a:t>
            </a:r>
            <a:r>
              <a:rPr lang="en-US" sz="1800" b="1" dirty="0"/>
              <a:t>97</a:t>
            </a:r>
            <a:r>
              <a:rPr lang="en-US" sz="1800" dirty="0"/>
              <a:t>  /  </a:t>
            </a:r>
            <a:r>
              <a:rPr lang="en-US" sz="1800" b="1" dirty="0"/>
              <a:t>15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BADEB17-94FF-E548-B97A-16818CD14EC9}"/>
              </a:ext>
            </a:extLst>
          </p:cNvPr>
          <p:cNvSpPr/>
          <p:nvPr userDrawn="1"/>
        </p:nvSpPr>
        <p:spPr>
          <a:xfrm>
            <a:off x="314325" y="2252663"/>
            <a:ext cx="2787650" cy="863600"/>
          </a:xfrm>
          <a:prstGeom prst="rect">
            <a:avLst/>
          </a:prstGeom>
          <a:solidFill>
            <a:srgbClr val="DD3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1400" dirty="0"/>
              <a:t>DARK TANGERINE</a:t>
            </a:r>
          </a:p>
          <a:p>
            <a:pPr algn="l"/>
            <a:r>
              <a:rPr lang="en-US" sz="1800" b="1" dirty="0"/>
              <a:t>221</a:t>
            </a:r>
            <a:r>
              <a:rPr lang="en-US" sz="1800" dirty="0"/>
              <a:t>  /  </a:t>
            </a:r>
            <a:r>
              <a:rPr lang="en-US" sz="1800" b="1" dirty="0"/>
              <a:t>49</a:t>
            </a:r>
            <a:r>
              <a:rPr lang="en-US" sz="1800" dirty="0"/>
              <a:t>  /  </a:t>
            </a:r>
            <a:r>
              <a:rPr lang="en-US" sz="1800" b="1" dirty="0"/>
              <a:t>11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E6301F3-2A0E-1D4A-92D3-8186F8681165}"/>
              </a:ext>
            </a:extLst>
          </p:cNvPr>
          <p:cNvSpPr/>
          <p:nvPr userDrawn="1"/>
        </p:nvSpPr>
        <p:spPr>
          <a:xfrm>
            <a:off x="314325" y="3235326"/>
            <a:ext cx="2787650" cy="846137"/>
          </a:xfrm>
          <a:prstGeom prst="rect">
            <a:avLst/>
          </a:prstGeom>
          <a:solidFill>
            <a:srgbClr val="FF94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1400" dirty="0"/>
              <a:t>MID TANGRINE</a:t>
            </a:r>
          </a:p>
          <a:p>
            <a:pPr algn="l"/>
            <a:r>
              <a:rPr lang="en-US" sz="1800" b="1" dirty="0"/>
              <a:t>255</a:t>
            </a:r>
            <a:r>
              <a:rPr lang="en-US" sz="1800" dirty="0"/>
              <a:t>  /  </a:t>
            </a:r>
            <a:r>
              <a:rPr lang="en-US" sz="1800" b="1" dirty="0"/>
              <a:t>148</a:t>
            </a:r>
            <a:r>
              <a:rPr lang="en-US" sz="1800" dirty="0"/>
              <a:t>  /  </a:t>
            </a:r>
            <a:r>
              <a:rPr lang="en-US" sz="1800" b="1" dirty="0"/>
              <a:t>97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551547C-C161-5F48-BDAC-1F1EFD24AE21}"/>
              </a:ext>
            </a:extLst>
          </p:cNvPr>
          <p:cNvSpPr/>
          <p:nvPr userDrawn="1"/>
        </p:nvSpPr>
        <p:spPr>
          <a:xfrm>
            <a:off x="314325" y="4194280"/>
            <a:ext cx="2787650" cy="863601"/>
          </a:xfrm>
          <a:prstGeom prst="rect">
            <a:avLst/>
          </a:prstGeom>
          <a:solidFill>
            <a:srgbClr val="FFC9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1400" dirty="0">
                <a:solidFill>
                  <a:schemeClr val="tx1"/>
                </a:solidFill>
              </a:rPr>
              <a:t>LIGHT TANGERINE</a:t>
            </a:r>
          </a:p>
          <a:p>
            <a:pPr algn="l"/>
            <a:r>
              <a:rPr lang="en-US" sz="1800" b="1" dirty="0">
                <a:solidFill>
                  <a:schemeClr val="tx1"/>
                </a:solidFill>
              </a:rPr>
              <a:t>255</a:t>
            </a:r>
            <a:r>
              <a:rPr lang="en-US" sz="1800" dirty="0">
                <a:solidFill>
                  <a:schemeClr val="tx1"/>
                </a:solidFill>
              </a:rPr>
              <a:t>  /  </a:t>
            </a:r>
            <a:r>
              <a:rPr lang="en-US" sz="1800" b="1" dirty="0">
                <a:solidFill>
                  <a:schemeClr val="tx1"/>
                </a:solidFill>
              </a:rPr>
              <a:t>201</a:t>
            </a:r>
            <a:r>
              <a:rPr lang="en-US" sz="1800" dirty="0">
                <a:solidFill>
                  <a:schemeClr val="tx1"/>
                </a:solidFill>
              </a:rPr>
              <a:t>  /  </a:t>
            </a:r>
            <a:r>
              <a:rPr lang="en-US" sz="1800" b="1" dirty="0">
                <a:solidFill>
                  <a:schemeClr val="tx1"/>
                </a:solidFill>
              </a:rPr>
              <a:t>176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96CA985-13CB-2749-9593-531A5F61859C}"/>
              </a:ext>
            </a:extLst>
          </p:cNvPr>
          <p:cNvSpPr/>
          <p:nvPr userDrawn="1"/>
        </p:nvSpPr>
        <p:spPr>
          <a:xfrm>
            <a:off x="4190999" y="1287463"/>
            <a:ext cx="2809875" cy="846137"/>
          </a:xfrm>
          <a:prstGeom prst="rect">
            <a:avLst/>
          </a:prstGeom>
          <a:solidFill>
            <a:srgbClr val="05BF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1400" dirty="0"/>
              <a:t>AQUA</a:t>
            </a:r>
          </a:p>
          <a:p>
            <a:pPr algn="l"/>
            <a:r>
              <a:rPr lang="en-US" sz="1800" b="1" dirty="0"/>
              <a:t>5</a:t>
            </a:r>
            <a:r>
              <a:rPr lang="en-US" sz="1800" dirty="0"/>
              <a:t>  /  </a:t>
            </a:r>
            <a:r>
              <a:rPr lang="en-US" sz="1800" b="1" dirty="0"/>
              <a:t>191</a:t>
            </a:r>
            <a:r>
              <a:rPr lang="en-US" sz="1800" dirty="0"/>
              <a:t>  /  </a:t>
            </a:r>
            <a:r>
              <a:rPr lang="en-US" sz="1800" b="1" dirty="0"/>
              <a:t>224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B69A89E-34CE-C740-B050-0BDE98D1DC38}"/>
              </a:ext>
            </a:extLst>
          </p:cNvPr>
          <p:cNvSpPr/>
          <p:nvPr userDrawn="1"/>
        </p:nvSpPr>
        <p:spPr>
          <a:xfrm>
            <a:off x="4191000" y="2252663"/>
            <a:ext cx="2809876" cy="863600"/>
          </a:xfrm>
          <a:prstGeom prst="rect">
            <a:avLst/>
          </a:prstGeom>
          <a:solidFill>
            <a:srgbClr val="0080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1400" dirty="0"/>
              <a:t>DARK AQUA</a:t>
            </a:r>
          </a:p>
          <a:p>
            <a:pPr algn="l"/>
            <a:r>
              <a:rPr lang="en-US" sz="1800" b="1" dirty="0"/>
              <a:t>0</a:t>
            </a:r>
            <a:r>
              <a:rPr lang="en-US" sz="1800" dirty="0"/>
              <a:t>  /  </a:t>
            </a:r>
            <a:r>
              <a:rPr lang="en-US" sz="1800" b="1" dirty="0"/>
              <a:t>128</a:t>
            </a:r>
            <a:r>
              <a:rPr lang="en-US" sz="1800" dirty="0"/>
              <a:t>  /  </a:t>
            </a:r>
            <a:r>
              <a:rPr lang="en-US" sz="1800" b="1" dirty="0"/>
              <a:t>168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5BD599D-BD2F-634C-81A9-D0D58E47B24F}"/>
              </a:ext>
            </a:extLst>
          </p:cNvPr>
          <p:cNvSpPr/>
          <p:nvPr userDrawn="1"/>
        </p:nvSpPr>
        <p:spPr>
          <a:xfrm>
            <a:off x="4191000" y="3235326"/>
            <a:ext cx="2809876" cy="863600"/>
          </a:xfrm>
          <a:prstGeom prst="rect">
            <a:avLst/>
          </a:prstGeom>
          <a:solidFill>
            <a:srgbClr val="59D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1400" dirty="0"/>
              <a:t>MID AQUA</a:t>
            </a:r>
          </a:p>
          <a:p>
            <a:pPr algn="l"/>
            <a:r>
              <a:rPr lang="en-US" sz="1800" b="1" dirty="0"/>
              <a:t>89</a:t>
            </a:r>
            <a:r>
              <a:rPr lang="en-US" sz="1800" dirty="0"/>
              <a:t>  /  </a:t>
            </a:r>
            <a:r>
              <a:rPr lang="en-US" sz="1800" b="1" dirty="0"/>
              <a:t>212</a:t>
            </a:r>
            <a:r>
              <a:rPr lang="en-US" sz="1800" dirty="0"/>
              <a:t>  /  </a:t>
            </a:r>
            <a:r>
              <a:rPr lang="en-US" sz="1800" b="1" dirty="0"/>
              <a:t>235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45F7047-EDC6-C34C-BC89-12A5B602FFA9}"/>
              </a:ext>
            </a:extLst>
          </p:cNvPr>
          <p:cNvSpPr/>
          <p:nvPr userDrawn="1"/>
        </p:nvSpPr>
        <p:spPr>
          <a:xfrm>
            <a:off x="4191001" y="4217989"/>
            <a:ext cx="2809873" cy="831074"/>
          </a:xfrm>
          <a:prstGeom prst="rect">
            <a:avLst/>
          </a:prstGeom>
          <a:solidFill>
            <a:srgbClr val="ABE8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1400" dirty="0">
                <a:solidFill>
                  <a:schemeClr val="tx1"/>
                </a:solidFill>
              </a:rPr>
              <a:t>LIGHT AQUA</a:t>
            </a:r>
          </a:p>
          <a:p>
            <a:pPr algn="l"/>
            <a:r>
              <a:rPr lang="en-US" sz="1800" b="1" dirty="0">
                <a:solidFill>
                  <a:schemeClr val="tx1"/>
                </a:solidFill>
              </a:rPr>
              <a:t>171</a:t>
            </a:r>
            <a:r>
              <a:rPr lang="en-US" sz="1800" dirty="0">
                <a:solidFill>
                  <a:schemeClr val="tx1"/>
                </a:solidFill>
              </a:rPr>
              <a:t>  /  </a:t>
            </a:r>
            <a:r>
              <a:rPr lang="en-US" sz="1800" b="1" dirty="0">
                <a:solidFill>
                  <a:schemeClr val="tx1"/>
                </a:solidFill>
              </a:rPr>
              <a:t>232</a:t>
            </a:r>
            <a:r>
              <a:rPr lang="en-US" sz="1800" dirty="0">
                <a:solidFill>
                  <a:schemeClr val="tx1"/>
                </a:solidFill>
              </a:rPr>
              <a:t>  /  </a:t>
            </a:r>
            <a:r>
              <a:rPr lang="en-US" sz="1800" b="1" dirty="0">
                <a:solidFill>
                  <a:schemeClr val="tx1"/>
                </a:solidFill>
              </a:rPr>
              <a:t>245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11FCDB0-D573-CD46-8B3D-E23EAD152EEE}"/>
              </a:ext>
            </a:extLst>
          </p:cNvPr>
          <p:cNvSpPr/>
          <p:nvPr userDrawn="1"/>
        </p:nvSpPr>
        <p:spPr>
          <a:xfrm>
            <a:off x="8097837" y="5192007"/>
            <a:ext cx="2794001" cy="846137"/>
          </a:xfrm>
          <a:prstGeom prst="rect">
            <a:avLst/>
          </a:prstGeom>
          <a:solidFill>
            <a:srgbClr val="E5D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1400" dirty="0">
                <a:solidFill>
                  <a:schemeClr val="tx1"/>
                </a:solidFill>
              </a:rPr>
              <a:t>VIOLET BACKGROUND</a:t>
            </a:r>
          </a:p>
          <a:p>
            <a:pPr algn="l"/>
            <a:r>
              <a:rPr lang="en-US" sz="1800" b="1" dirty="0">
                <a:solidFill>
                  <a:schemeClr val="tx1"/>
                </a:solidFill>
              </a:rPr>
              <a:t>229</a:t>
            </a:r>
            <a:r>
              <a:rPr lang="en-US" sz="1800" dirty="0">
                <a:solidFill>
                  <a:schemeClr val="tx1"/>
                </a:solidFill>
              </a:rPr>
              <a:t>  /  </a:t>
            </a:r>
            <a:r>
              <a:rPr lang="en-US" sz="1800" b="1" dirty="0">
                <a:solidFill>
                  <a:schemeClr val="tx1"/>
                </a:solidFill>
              </a:rPr>
              <a:t>220</a:t>
            </a:r>
            <a:r>
              <a:rPr lang="en-US" sz="1800" dirty="0">
                <a:solidFill>
                  <a:schemeClr val="tx1"/>
                </a:solidFill>
              </a:rPr>
              <a:t>  /  </a:t>
            </a:r>
            <a:r>
              <a:rPr lang="en-US" sz="1800" b="1" dirty="0">
                <a:solidFill>
                  <a:schemeClr val="tx1"/>
                </a:solidFill>
              </a:rPr>
              <a:t>242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86D8B3C-DBF9-9F49-B806-74219B2B2572}"/>
              </a:ext>
            </a:extLst>
          </p:cNvPr>
          <p:cNvSpPr/>
          <p:nvPr userDrawn="1"/>
        </p:nvSpPr>
        <p:spPr>
          <a:xfrm>
            <a:off x="314325" y="5181600"/>
            <a:ext cx="2787650" cy="856544"/>
          </a:xfrm>
          <a:prstGeom prst="rect">
            <a:avLst/>
          </a:prstGeom>
          <a:solidFill>
            <a:srgbClr val="FFE7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1400" spc="0" dirty="0">
                <a:solidFill>
                  <a:schemeClr val="tx1"/>
                </a:solidFill>
              </a:rPr>
              <a:t>TANGERINE BACKGROUND</a:t>
            </a:r>
          </a:p>
          <a:p>
            <a:pPr algn="l"/>
            <a:r>
              <a:rPr lang="en-US" sz="1800" b="1" dirty="0">
                <a:solidFill>
                  <a:schemeClr val="tx1"/>
                </a:solidFill>
              </a:rPr>
              <a:t>255</a:t>
            </a:r>
            <a:r>
              <a:rPr lang="en-US" sz="1800" dirty="0">
                <a:solidFill>
                  <a:schemeClr val="tx1"/>
                </a:solidFill>
              </a:rPr>
              <a:t>  /  </a:t>
            </a:r>
            <a:r>
              <a:rPr lang="en-US" sz="1800" b="1" dirty="0">
                <a:solidFill>
                  <a:schemeClr val="tx1"/>
                </a:solidFill>
              </a:rPr>
              <a:t>231</a:t>
            </a:r>
            <a:r>
              <a:rPr lang="en-US" sz="1800" dirty="0">
                <a:solidFill>
                  <a:schemeClr val="tx1"/>
                </a:solidFill>
              </a:rPr>
              <a:t>  /  </a:t>
            </a:r>
            <a:r>
              <a:rPr lang="en-US" sz="1800" b="1" dirty="0">
                <a:solidFill>
                  <a:schemeClr val="tx1"/>
                </a:solidFill>
              </a:rPr>
              <a:t>219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435BA44-78E2-0B48-A9DB-999F6BA91E7C}"/>
              </a:ext>
            </a:extLst>
          </p:cNvPr>
          <p:cNvSpPr/>
          <p:nvPr userDrawn="1"/>
        </p:nvSpPr>
        <p:spPr>
          <a:xfrm>
            <a:off x="4191000" y="5181599"/>
            <a:ext cx="2809874" cy="856545"/>
          </a:xfrm>
          <a:prstGeom prst="rect">
            <a:avLst/>
          </a:prstGeom>
          <a:solidFill>
            <a:srgbClr val="DAF5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r>
              <a:rPr lang="en-US" sz="1400" dirty="0">
                <a:solidFill>
                  <a:schemeClr val="tx1"/>
                </a:solidFill>
              </a:rPr>
              <a:t>AQUA BACKGROUND</a:t>
            </a:r>
          </a:p>
          <a:p>
            <a:pPr algn="l"/>
            <a:r>
              <a:rPr lang="en-US" sz="1800" b="1" dirty="0">
                <a:solidFill>
                  <a:schemeClr val="tx1"/>
                </a:solidFill>
              </a:rPr>
              <a:t>218</a:t>
            </a:r>
            <a:r>
              <a:rPr lang="en-US" sz="1800" dirty="0">
                <a:solidFill>
                  <a:schemeClr val="tx1"/>
                </a:solidFill>
              </a:rPr>
              <a:t>  /  </a:t>
            </a:r>
            <a:r>
              <a:rPr lang="en-US" sz="1800" b="1" dirty="0">
                <a:solidFill>
                  <a:schemeClr val="tx1"/>
                </a:solidFill>
              </a:rPr>
              <a:t>245</a:t>
            </a:r>
            <a:r>
              <a:rPr lang="en-US" sz="1800" dirty="0">
                <a:solidFill>
                  <a:schemeClr val="tx1"/>
                </a:solidFill>
              </a:rPr>
              <a:t>  /  </a:t>
            </a:r>
            <a:r>
              <a:rPr lang="en-US" sz="1800" b="1" dirty="0">
                <a:solidFill>
                  <a:schemeClr val="tx1"/>
                </a:solidFill>
              </a:rPr>
              <a:t>250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3F564D1-5342-4E4E-9F30-FF25D8C92B24}"/>
              </a:ext>
            </a:extLst>
          </p:cNvPr>
          <p:cNvSpPr txBox="1"/>
          <p:nvPr userDrawn="1"/>
        </p:nvSpPr>
        <p:spPr>
          <a:xfrm>
            <a:off x="314325" y="307975"/>
            <a:ext cx="115585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MI RGB COLOR PALETTE</a:t>
            </a:r>
          </a:p>
          <a:p>
            <a:r>
              <a:rPr lang="en-US" dirty="0"/>
              <a:t>To quickly select a color you may copy and paste a color square or use the eyedropper.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4805AAD-A141-EC4A-845B-673261D4FC5B}"/>
              </a:ext>
            </a:extLst>
          </p:cNvPr>
          <p:cNvSpPr/>
          <p:nvPr userDrawn="1"/>
        </p:nvSpPr>
        <p:spPr>
          <a:xfrm>
            <a:off x="3225800" y="1287463"/>
            <a:ext cx="852219" cy="863601"/>
          </a:xfrm>
          <a:prstGeom prst="rect">
            <a:avLst/>
          </a:prstGeom>
          <a:solidFill>
            <a:srgbClr val="FF61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800" b="1" dirty="0">
              <a:latin typeface="GT Pressura Mono" panose="02000506020000020004" pitchFamily="2" charset="77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0772C7E-7AE5-6D42-9556-D2AB8C468063}"/>
              </a:ext>
            </a:extLst>
          </p:cNvPr>
          <p:cNvSpPr/>
          <p:nvPr userDrawn="1"/>
        </p:nvSpPr>
        <p:spPr>
          <a:xfrm>
            <a:off x="3225799" y="2268537"/>
            <a:ext cx="852219" cy="847725"/>
          </a:xfrm>
          <a:prstGeom prst="rect">
            <a:avLst/>
          </a:prstGeom>
          <a:solidFill>
            <a:srgbClr val="DD3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800" b="1" dirty="0">
              <a:latin typeface="GT Pressura Mono" panose="02000506020000020004" pitchFamily="2" charset="77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B46D55C-0BA0-2D4A-B124-85F898C5AD94}"/>
              </a:ext>
            </a:extLst>
          </p:cNvPr>
          <p:cNvSpPr/>
          <p:nvPr userDrawn="1"/>
        </p:nvSpPr>
        <p:spPr>
          <a:xfrm>
            <a:off x="3225799" y="3248800"/>
            <a:ext cx="852219" cy="847725"/>
          </a:xfrm>
          <a:prstGeom prst="rect">
            <a:avLst/>
          </a:prstGeom>
          <a:solidFill>
            <a:srgbClr val="FF94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800" b="1" dirty="0">
              <a:latin typeface="GT Pressura Mono" panose="02000506020000020004" pitchFamily="2" charset="77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B6B7586-4096-614D-A83C-43B83BE0F580}"/>
              </a:ext>
            </a:extLst>
          </p:cNvPr>
          <p:cNvSpPr/>
          <p:nvPr userDrawn="1"/>
        </p:nvSpPr>
        <p:spPr>
          <a:xfrm>
            <a:off x="3225799" y="4198938"/>
            <a:ext cx="852219" cy="889070"/>
          </a:xfrm>
          <a:prstGeom prst="rect">
            <a:avLst/>
          </a:prstGeom>
          <a:solidFill>
            <a:srgbClr val="FFC9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800" b="1" dirty="0">
              <a:solidFill>
                <a:schemeClr val="tx1"/>
              </a:solidFill>
              <a:latin typeface="GT Pressura Mono" panose="02000506020000020004" pitchFamily="2" charset="77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6079991-12C3-D647-AD32-059D91118FAF}"/>
              </a:ext>
            </a:extLst>
          </p:cNvPr>
          <p:cNvSpPr/>
          <p:nvPr userDrawn="1"/>
        </p:nvSpPr>
        <p:spPr>
          <a:xfrm>
            <a:off x="3225799" y="5181599"/>
            <a:ext cx="852219" cy="856545"/>
          </a:xfrm>
          <a:prstGeom prst="rect">
            <a:avLst/>
          </a:prstGeom>
          <a:solidFill>
            <a:srgbClr val="FFE7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800" b="1" dirty="0">
              <a:solidFill>
                <a:schemeClr val="tx1"/>
              </a:solidFill>
              <a:latin typeface="GT Pressura Mono" panose="02000506020000020004" pitchFamily="2" charset="77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412A59A-4BD5-6049-98CC-8C0A8CFCA00A}"/>
              </a:ext>
            </a:extLst>
          </p:cNvPr>
          <p:cNvSpPr/>
          <p:nvPr userDrawn="1"/>
        </p:nvSpPr>
        <p:spPr>
          <a:xfrm>
            <a:off x="7124699" y="1287463"/>
            <a:ext cx="872769" cy="863601"/>
          </a:xfrm>
          <a:prstGeom prst="rect">
            <a:avLst/>
          </a:prstGeom>
          <a:solidFill>
            <a:srgbClr val="05BF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800" b="1" dirty="0">
              <a:latin typeface="GT Pressura Mono" panose="02000506020000020004" pitchFamily="2" charset="77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F79B83B-7D20-F446-8390-380F236539CE}"/>
              </a:ext>
            </a:extLst>
          </p:cNvPr>
          <p:cNvSpPr/>
          <p:nvPr userDrawn="1"/>
        </p:nvSpPr>
        <p:spPr>
          <a:xfrm>
            <a:off x="7124699" y="2252663"/>
            <a:ext cx="872769" cy="863600"/>
          </a:xfrm>
          <a:prstGeom prst="rect">
            <a:avLst/>
          </a:prstGeom>
          <a:solidFill>
            <a:srgbClr val="0080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800" b="1" dirty="0">
              <a:latin typeface="GT Pressura Mono" panose="02000506020000020004" pitchFamily="2" charset="77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2E34087-F63C-6548-840E-9A07659253FB}"/>
              </a:ext>
            </a:extLst>
          </p:cNvPr>
          <p:cNvSpPr/>
          <p:nvPr userDrawn="1"/>
        </p:nvSpPr>
        <p:spPr>
          <a:xfrm>
            <a:off x="7124699" y="3233738"/>
            <a:ext cx="872769" cy="847725"/>
          </a:xfrm>
          <a:prstGeom prst="rect">
            <a:avLst/>
          </a:prstGeom>
          <a:solidFill>
            <a:srgbClr val="59D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800" b="1" dirty="0">
              <a:latin typeface="GT Pressura Mono" panose="02000506020000020004" pitchFamily="2" charset="77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EE36593-1981-9C4C-B82F-F4B1860EEB88}"/>
              </a:ext>
            </a:extLst>
          </p:cNvPr>
          <p:cNvSpPr/>
          <p:nvPr userDrawn="1"/>
        </p:nvSpPr>
        <p:spPr>
          <a:xfrm>
            <a:off x="7124699" y="4198938"/>
            <a:ext cx="872769" cy="863600"/>
          </a:xfrm>
          <a:prstGeom prst="rect">
            <a:avLst/>
          </a:prstGeom>
          <a:solidFill>
            <a:srgbClr val="ABE8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800" b="1" dirty="0">
              <a:solidFill>
                <a:schemeClr val="tx1"/>
              </a:solidFill>
              <a:latin typeface="GT Pressura Mono" panose="02000506020000020004" pitchFamily="2" charset="77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557D99B-5237-9A4B-A84C-685716B53561}"/>
              </a:ext>
            </a:extLst>
          </p:cNvPr>
          <p:cNvSpPr/>
          <p:nvPr userDrawn="1"/>
        </p:nvSpPr>
        <p:spPr>
          <a:xfrm>
            <a:off x="7124699" y="5174543"/>
            <a:ext cx="872769" cy="861133"/>
          </a:xfrm>
          <a:prstGeom prst="rect">
            <a:avLst/>
          </a:prstGeom>
          <a:solidFill>
            <a:srgbClr val="DAF5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800" b="1" dirty="0">
              <a:solidFill>
                <a:schemeClr val="tx1"/>
              </a:solidFill>
              <a:latin typeface="GT Pressura Mono" panose="02000506020000020004" pitchFamily="2" charset="77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ADD6D23-F58E-E143-B31D-65A2D038597D}"/>
              </a:ext>
            </a:extLst>
          </p:cNvPr>
          <p:cNvSpPr/>
          <p:nvPr userDrawn="1"/>
        </p:nvSpPr>
        <p:spPr>
          <a:xfrm>
            <a:off x="11017250" y="1287463"/>
            <a:ext cx="860907" cy="846137"/>
          </a:xfrm>
          <a:prstGeom prst="rect">
            <a:avLst/>
          </a:prstGeom>
          <a:solidFill>
            <a:srgbClr val="4F17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800" b="1" dirty="0">
              <a:latin typeface="GT Pressura Mono" panose="02000506020000020004" pitchFamily="2" charset="77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82EFD9D-14EF-AF43-B60C-0ACBA98784A5}"/>
              </a:ext>
            </a:extLst>
          </p:cNvPr>
          <p:cNvSpPr/>
          <p:nvPr userDrawn="1"/>
        </p:nvSpPr>
        <p:spPr>
          <a:xfrm>
            <a:off x="11017250" y="2237599"/>
            <a:ext cx="860907" cy="878664"/>
          </a:xfrm>
          <a:prstGeom prst="rect">
            <a:avLst/>
          </a:prstGeom>
          <a:solidFill>
            <a:srgbClr val="2B00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800" b="1" dirty="0">
              <a:latin typeface="GT Pressura Mono" panose="02000506020000020004" pitchFamily="2" charset="77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0C40295-6693-8941-A3A2-9ECBA9E23AF8}"/>
              </a:ext>
            </a:extLst>
          </p:cNvPr>
          <p:cNvSpPr/>
          <p:nvPr userDrawn="1"/>
        </p:nvSpPr>
        <p:spPr>
          <a:xfrm>
            <a:off x="11017250" y="3233738"/>
            <a:ext cx="860907" cy="847725"/>
          </a:xfrm>
          <a:prstGeom prst="rect">
            <a:avLst/>
          </a:prstGeom>
          <a:solidFill>
            <a:srgbClr val="8A66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800" b="1" dirty="0">
              <a:latin typeface="GT Pressura Mono" panose="02000506020000020004" pitchFamily="2" charset="77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CFABA0B-5006-F445-BD23-4D781A964994}"/>
              </a:ext>
            </a:extLst>
          </p:cNvPr>
          <p:cNvSpPr/>
          <p:nvPr userDrawn="1"/>
        </p:nvSpPr>
        <p:spPr>
          <a:xfrm>
            <a:off x="11017250" y="4198938"/>
            <a:ext cx="860907" cy="863600"/>
          </a:xfrm>
          <a:prstGeom prst="rect">
            <a:avLst/>
          </a:prstGeom>
          <a:solidFill>
            <a:srgbClr val="C4B2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800" b="1" dirty="0">
              <a:solidFill>
                <a:schemeClr val="tx1"/>
              </a:solidFill>
              <a:latin typeface="GT Pressura Mono" panose="02000506020000020004" pitchFamily="2" charset="77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F11402F-669D-AD48-BF89-6A829342B32A}"/>
              </a:ext>
            </a:extLst>
          </p:cNvPr>
          <p:cNvSpPr/>
          <p:nvPr userDrawn="1"/>
        </p:nvSpPr>
        <p:spPr>
          <a:xfrm>
            <a:off x="11017250" y="5174544"/>
            <a:ext cx="860907" cy="861132"/>
          </a:xfrm>
          <a:prstGeom prst="rect">
            <a:avLst/>
          </a:prstGeom>
          <a:solidFill>
            <a:srgbClr val="E5DC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800" b="1" dirty="0">
              <a:solidFill>
                <a:schemeClr val="tx1"/>
              </a:solidFill>
              <a:latin typeface="GT Pressura Mono" panose="02000506020000020004" pitchFamily="2" charset="77"/>
            </a:endParaRPr>
          </a:p>
        </p:txBody>
      </p:sp>
      <p:pic>
        <p:nvPicPr>
          <p:cNvPr id="39" name="Picture 38"/>
          <p:cNvPicPr>
            <a:picLocks noChangeAspect="1"/>
          </p:cNvPicPr>
          <p:nvPr userDrawn="1"/>
        </p:nvPicPr>
        <p:blipFill rotWithShape="1">
          <a:blip r:embed="rId2"/>
          <a:srcRect r="61205" b="-4710"/>
          <a:stretch/>
        </p:blipFill>
        <p:spPr>
          <a:xfrm>
            <a:off x="314325" y="6201058"/>
            <a:ext cx="348283" cy="358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54642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EB96D29-71BA-4CA7-95FF-7D432CCC78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EB96D29-71BA-4CA7-95FF-7D432CCC78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27">
            <a:extLst>
              <a:ext uri="{FF2B5EF4-FFF2-40B4-BE49-F238E27FC236}">
                <a16:creationId xmlns:a16="http://schemas.microsoft.com/office/drawing/2014/main" id="{ADBD4F74-28BC-4466-B6D7-D428037072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7167716" cy="698090"/>
          </a:xfrm>
        </p:spPr>
        <p:txBody>
          <a:bodyPr vert="horz"/>
          <a:lstStyle>
            <a:lvl1pPr>
              <a:defRPr sz="2800">
                <a:latin typeface="MTN Brighter Sans ExtraBold" panose="000009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164356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+ Sub no whi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32B0BD6-0205-4143-838A-4BF7D5E16C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514" y="851214"/>
            <a:ext cx="11404600" cy="268816"/>
          </a:xfrm>
          <a:prstGeom prst="rect">
            <a:avLst/>
          </a:prstGeom>
          <a:noFill/>
        </p:spPr>
        <p:txBody>
          <a:bodyPr lIns="0" tIns="0" rIns="0"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5C46E95-7098-4925-98E9-8FA02CD607BD}"/>
              </a:ext>
            </a:extLst>
          </p:cNvPr>
          <p:cNvGrpSpPr/>
          <p:nvPr userDrawn="1"/>
        </p:nvGrpSpPr>
        <p:grpSpPr>
          <a:xfrm>
            <a:off x="11456572" y="6414190"/>
            <a:ext cx="382059" cy="382451"/>
            <a:chOff x="10648109" y="5310073"/>
            <a:chExt cx="1150191" cy="1151372"/>
          </a:xfrm>
        </p:grpSpPr>
        <p:sp>
          <p:nvSpPr>
            <p:cNvPr id="8" name="Rectangle 20">
              <a:extLst>
                <a:ext uri="{FF2B5EF4-FFF2-40B4-BE49-F238E27FC236}">
                  <a16:creationId xmlns:a16="http://schemas.microsoft.com/office/drawing/2014/main" id="{19A1FE96-9E59-4F90-A039-491FFC82160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648109" y="5310073"/>
              <a:ext cx="1150191" cy="11513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" name="Rectangle 21">
              <a:extLst>
                <a:ext uri="{FF2B5EF4-FFF2-40B4-BE49-F238E27FC236}">
                  <a16:creationId xmlns:a16="http://schemas.microsoft.com/office/drawing/2014/main" id="{689D3DD5-4213-4F9A-9D30-5F60BE74C36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05973" y="5367936"/>
              <a:ext cx="1034463" cy="1035644"/>
            </a:xfrm>
            <a:prstGeom prst="rect">
              <a:avLst/>
            </a:pr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" name="Oval 22">
              <a:extLst>
                <a:ext uri="{FF2B5EF4-FFF2-40B4-BE49-F238E27FC236}">
                  <a16:creationId xmlns:a16="http://schemas.microsoft.com/office/drawing/2014/main" id="{9853A4D5-978A-4F9D-8FBD-040C291AAEB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734315" y="5684416"/>
              <a:ext cx="977780" cy="402685"/>
            </a:xfrm>
            <a:prstGeom prst="ellipse">
              <a:avLst/>
            </a:prstGeom>
            <a:solidFill>
              <a:srgbClr val="0568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" name="Freeform 23">
              <a:extLst>
                <a:ext uri="{FF2B5EF4-FFF2-40B4-BE49-F238E27FC236}">
                  <a16:creationId xmlns:a16="http://schemas.microsoft.com/office/drawing/2014/main" id="{77159755-D503-4E55-96C3-CD062A57C2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79511" y="5784792"/>
              <a:ext cx="179496" cy="158240"/>
            </a:xfrm>
            <a:custGeom>
              <a:avLst/>
              <a:gdLst>
                <a:gd name="T0" fmla="*/ 141 w 152"/>
                <a:gd name="T1" fmla="*/ 43 h 134"/>
                <a:gd name="T2" fmla="*/ 152 w 152"/>
                <a:gd name="T3" fmla="*/ 0 h 134"/>
                <a:gd name="T4" fmla="*/ 11 w 152"/>
                <a:gd name="T5" fmla="*/ 0 h 134"/>
                <a:gd name="T6" fmla="*/ 0 w 152"/>
                <a:gd name="T7" fmla="*/ 43 h 134"/>
                <a:gd name="T8" fmla="*/ 46 w 152"/>
                <a:gd name="T9" fmla="*/ 43 h 134"/>
                <a:gd name="T10" fmla="*/ 23 w 152"/>
                <a:gd name="T11" fmla="*/ 134 h 134"/>
                <a:gd name="T12" fmla="*/ 72 w 152"/>
                <a:gd name="T13" fmla="*/ 134 h 134"/>
                <a:gd name="T14" fmla="*/ 95 w 152"/>
                <a:gd name="T15" fmla="*/ 43 h 134"/>
                <a:gd name="T16" fmla="*/ 141 w 152"/>
                <a:gd name="T17" fmla="*/ 4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134">
                  <a:moveTo>
                    <a:pt x="141" y="43"/>
                  </a:moveTo>
                  <a:lnTo>
                    <a:pt x="152" y="0"/>
                  </a:lnTo>
                  <a:lnTo>
                    <a:pt x="11" y="0"/>
                  </a:lnTo>
                  <a:lnTo>
                    <a:pt x="0" y="43"/>
                  </a:lnTo>
                  <a:lnTo>
                    <a:pt x="46" y="43"/>
                  </a:lnTo>
                  <a:lnTo>
                    <a:pt x="23" y="134"/>
                  </a:lnTo>
                  <a:lnTo>
                    <a:pt x="72" y="134"/>
                  </a:lnTo>
                  <a:lnTo>
                    <a:pt x="95" y="43"/>
                  </a:lnTo>
                  <a:lnTo>
                    <a:pt x="141" y="43"/>
                  </a:lnTo>
                  <a:close/>
                </a:path>
              </a:pathLst>
            </a:custGeom>
            <a:solidFill>
              <a:srgbClr val="FECA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" name="Freeform 24">
              <a:extLst>
                <a:ext uri="{FF2B5EF4-FFF2-40B4-BE49-F238E27FC236}">
                  <a16:creationId xmlns:a16="http://schemas.microsoft.com/office/drawing/2014/main" id="{47053F6D-296F-4BE1-A22B-8B465D2B0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10268" y="5784792"/>
              <a:ext cx="266882" cy="200752"/>
            </a:xfrm>
            <a:custGeom>
              <a:avLst/>
              <a:gdLst>
                <a:gd name="T0" fmla="*/ 226 w 226"/>
                <a:gd name="T1" fmla="*/ 0 h 170"/>
                <a:gd name="T2" fmla="*/ 156 w 226"/>
                <a:gd name="T3" fmla="*/ 0 h 170"/>
                <a:gd name="T4" fmla="*/ 111 w 226"/>
                <a:gd name="T5" fmla="*/ 100 h 170"/>
                <a:gd name="T6" fmla="*/ 111 w 226"/>
                <a:gd name="T7" fmla="*/ 0 h 170"/>
                <a:gd name="T8" fmla="*/ 43 w 226"/>
                <a:gd name="T9" fmla="*/ 0 h 170"/>
                <a:gd name="T10" fmla="*/ 0 w 226"/>
                <a:gd name="T11" fmla="*/ 170 h 170"/>
                <a:gd name="T12" fmla="*/ 47 w 226"/>
                <a:gd name="T13" fmla="*/ 170 h 170"/>
                <a:gd name="T14" fmla="*/ 75 w 226"/>
                <a:gd name="T15" fmla="*/ 61 h 170"/>
                <a:gd name="T16" fmla="*/ 75 w 226"/>
                <a:gd name="T17" fmla="*/ 170 h 170"/>
                <a:gd name="T18" fmla="*/ 111 w 226"/>
                <a:gd name="T19" fmla="*/ 170 h 170"/>
                <a:gd name="T20" fmla="*/ 165 w 226"/>
                <a:gd name="T21" fmla="*/ 61 h 170"/>
                <a:gd name="T22" fmla="*/ 139 w 226"/>
                <a:gd name="T23" fmla="*/ 170 h 170"/>
                <a:gd name="T24" fmla="*/ 183 w 226"/>
                <a:gd name="T25" fmla="*/ 170 h 170"/>
                <a:gd name="T26" fmla="*/ 226 w 226"/>
                <a:gd name="T27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6" h="170">
                  <a:moveTo>
                    <a:pt x="226" y="0"/>
                  </a:moveTo>
                  <a:lnTo>
                    <a:pt x="156" y="0"/>
                  </a:lnTo>
                  <a:lnTo>
                    <a:pt x="111" y="100"/>
                  </a:lnTo>
                  <a:lnTo>
                    <a:pt x="111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7" y="170"/>
                  </a:lnTo>
                  <a:lnTo>
                    <a:pt x="75" y="61"/>
                  </a:lnTo>
                  <a:lnTo>
                    <a:pt x="75" y="170"/>
                  </a:lnTo>
                  <a:lnTo>
                    <a:pt x="111" y="170"/>
                  </a:lnTo>
                  <a:lnTo>
                    <a:pt x="165" y="61"/>
                  </a:lnTo>
                  <a:lnTo>
                    <a:pt x="139" y="170"/>
                  </a:lnTo>
                  <a:lnTo>
                    <a:pt x="183" y="170"/>
                  </a:lnTo>
                  <a:lnTo>
                    <a:pt x="22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" name="Freeform 25">
              <a:extLst>
                <a:ext uri="{FF2B5EF4-FFF2-40B4-BE49-F238E27FC236}">
                  <a16:creationId xmlns:a16="http://schemas.microsoft.com/office/drawing/2014/main" id="{D0B50367-F12A-40A4-A1C2-D9EE0AAAFA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2400" y="5784792"/>
              <a:ext cx="213742" cy="200752"/>
            </a:xfrm>
            <a:custGeom>
              <a:avLst/>
              <a:gdLst>
                <a:gd name="T0" fmla="*/ 181 w 181"/>
                <a:gd name="T1" fmla="*/ 0 h 170"/>
                <a:gd name="T2" fmla="*/ 136 w 181"/>
                <a:gd name="T3" fmla="*/ 0 h 170"/>
                <a:gd name="T4" fmla="*/ 114 w 181"/>
                <a:gd name="T5" fmla="*/ 91 h 170"/>
                <a:gd name="T6" fmla="*/ 92 w 181"/>
                <a:gd name="T7" fmla="*/ 0 h 170"/>
                <a:gd name="T8" fmla="*/ 43 w 181"/>
                <a:gd name="T9" fmla="*/ 0 h 170"/>
                <a:gd name="T10" fmla="*/ 0 w 181"/>
                <a:gd name="T11" fmla="*/ 170 h 170"/>
                <a:gd name="T12" fmla="*/ 45 w 181"/>
                <a:gd name="T13" fmla="*/ 170 h 170"/>
                <a:gd name="T14" fmla="*/ 69 w 181"/>
                <a:gd name="T15" fmla="*/ 78 h 170"/>
                <a:gd name="T16" fmla="*/ 92 w 181"/>
                <a:gd name="T17" fmla="*/ 170 h 170"/>
                <a:gd name="T18" fmla="*/ 139 w 181"/>
                <a:gd name="T19" fmla="*/ 170 h 170"/>
                <a:gd name="T20" fmla="*/ 181 w 181"/>
                <a:gd name="T2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1" h="170">
                  <a:moveTo>
                    <a:pt x="181" y="0"/>
                  </a:moveTo>
                  <a:lnTo>
                    <a:pt x="136" y="0"/>
                  </a:lnTo>
                  <a:lnTo>
                    <a:pt x="114" y="91"/>
                  </a:lnTo>
                  <a:lnTo>
                    <a:pt x="92" y="0"/>
                  </a:lnTo>
                  <a:lnTo>
                    <a:pt x="43" y="0"/>
                  </a:lnTo>
                  <a:lnTo>
                    <a:pt x="0" y="170"/>
                  </a:lnTo>
                  <a:lnTo>
                    <a:pt x="45" y="170"/>
                  </a:lnTo>
                  <a:lnTo>
                    <a:pt x="69" y="78"/>
                  </a:lnTo>
                  <a:lnTo>
                    <a:pt x="92" y="170"/>
                  </a:lnTo>
                  <a:lnTo>
                    <a:pt x="139" y="170"/>
                  </a:lnTo>
                  <a:lnTo>
                    <a:pt x="18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" name="Freeform 26">
              <a:extLst>
                <a:ext uri="{FF2B5EF4-FFF2-40B4-BE49-F238E27FC236}">
                  <a16:creationId xmlns:a16="http://schemas.microsoft.com/office/drawing/2014/main" id="{9B64F58F-617F-4FDF-8C6B-D0FB309C4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96044" y="5957203"/>
              <a:ext cx="64950" cy="28341"/>
            </a:xfrm>
            <a:custGeom>
              <a:avLst/>
              <a:gdLst>
                <a:gd name="T0" fmla="*/ 6 w 55"/>
                <a:gd name="T1" fmla="*/ 0 h 24"/>
                <a:gd name="T2" fmla="*/ 0 w 55"/>
                <a:gd name="T3" fmla="*/ 24 h 24"/>
                <a:gd name="T4" fmla="*/ 49 w 55"/>
                <a:gd name="T5" fmla="*/ 24 h 24"/>
                <a:gd name="T6" fmla="*/ 55 w 55"/>
                <a:gd name="T7" fmla="*/ 0 h 24"/>
                <a:gd name="T8" fmla="*/ 6 w 5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4">
                  <a:moveTo>
                    <a:pt x="6" y="0"/>
                  </a:moveTo>
                  <a:lnTo>
                    <a:pt x="0" y="24"/>
                  </a:lnTo>
                  <a:lnTo>
                    <a:pt x="49" y="24"/>
                  </a:lnTo>
                  <a:lnTo>
                    <a:pt x="55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524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D615A89-DB86-4E30-B787-65D15A6A102B}"/>
              </a:ext>
            </a:extLst>
          </p:cNvPr>
          <p:cNvCxnSpPr/>
          <p:nvPr userDrawn="1"/>
        </p:nvCxnSpPr>
        <p:spPr>
          <a:xfrm>
            <a:off x="407988" y="719236"/>
            <a:ext cx="1044000" cy="0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2459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ANGERINE INNOVA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9184" y="3236976"/>
            <a:ext cx="5698554" cy="2387600"/>
          </a:xfrm>
        </p:spPr>
        <p:txBody>
          <a:bodyPr anchor="t" anchorCtr="0"/>
          <a:lstStyle>
            <a:lvl1pPr algn="l">
              <a:lnSpc>
                <a:spcPts val="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TANGERINE INNOVA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60D67F-0EE6-2C4B-AD7D-FB96FD6C3925}" type="datetime3">
              <a:rPr lang="en-US" smtClean="0"/>
              <a:t>23 July 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4387E57-BD30-C849-B480-B6A138293C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51563" y="307975"/>
            <a:ext cx="5721350" cy="572135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3"/>
          <a:srcRect r="63744" b="-701"/>
          <a:stretch/>
        </p:blipFill>
        <p:spPr>
          <a:xfrm>
            <a:off x="329184" y="6252436"/>
            <a:ext cx="384926" cy="40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58958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ANGERINE VI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9184" y="3236976"/>
            <a:ext cx="5698554" cy="2387600"/>
          </a:xfrm>
        </p:spPr>
        <p:txBody>
          <a:bodyPr anchor="t" anchorCtr="0"/>
          <a:lstStyle>
            <a:lvl1pPr algn="l">
              <a:lnSpc>
                <a:spcPts val="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TANGERINE VIS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60D67F-0EE6-2C4B-AD7D-FB96FD6C3925}" type="datetime3">
              <a:rPr lang="en-US" smtClean="0"/>
              <a:t>23 July 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64E9458-54A6-D341-91E7-60D36F10FD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lum bright="100000"/>
          </a:blip>
          <a:stretch>
            <a:fillRect/>
          </a:stretch>
        </p:blipFill>
        <p:spPr>
          <a:xfrm>
            <a:off x="6157913" y="320676"/>
            <a:ext cx="5714999" cy="571499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/>
          <a:srcRect r="63744" b="-701"/>
          <a:stretch/>
        </p:blipFill>
        <p:spPr>
          <a:xfrm>
            <a:off x="329184" y="6252436"/>
            <a:ext cx="384926" cy="40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4111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ANGERINE PATTER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9184" y="3236976"/>
            <a:ext cx="5695382" cy="2387600"/>
          </a:xfrm>
        </p:spPr>
        <p:txBody>
          <a:bodyPr anchor="t" anchorCtr="0"/>
          <a:lstStyle>
            <a:lvl1pPr algn="l">
              <a:lnSpc>
                <a:spcPts val="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TANGERINE PATTER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83B5F5-3AA0-E14F-BD88-9A2770088987}" type="datetime3">
              <a:rPr lang="en-US" smtClean="0"/>
              <a:t>23 July 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C32C4C2-5012-8A4E-9976-D06B71975E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28238" y="4198938"/>
            <a:ext cx="863600" cy="8636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127EC68-2C75-BA45-9985-62B9AA9620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163785" y="1287463"/>
            <a:ext cx="864453" cy="86445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26F4148-A6EF-0B41-BA3C-1DBDAAEC3CC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08459" y="2260600"/>
            <a:ext cx="855663" cy="85566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D9537E7A-1C25-2C41-A190-05050CC53E0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044112" y="2268537"/>
            <a:ext cx="847725" cy="84772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C220902C-155B-D849-ACE7-AE85807C1B5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097837" y="4213226"/>
            <a:ext cx="849311" cy="84931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76977E99-4A69-794B-BD3C-48DA4888475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018837" y="5181599"/>
            <a:ext cx="854075" cy="854075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CE4EE1B-2FEB-154C-8F29-E45EE5E328D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lum bright="100000"/>
          </a:blip>
          <a:stretch>
            <a:fillRect/>
          </a:stretch>
        </p:blipFill>
        <p:spPr>
          <a:xfrm>
            <a:off x="6167435" y="4221043"/>
            <a:ext cx="849312" cy="849312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D2EE7049-3688-B94D-848E-9AB6B82282D5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lum bright="100000"/>
          </a:blip>
          <a:stretch>
            <a:fillRect/>
          </a:stretch>
        </p:blipFill>
        <p:spPr>
          <a:xfrm>
            <a:off x="9078913" y="3212307"/>
            <a:ext cx="869156" cy="869156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C15D96E2-281C-3F46-8843-E17D1E113E7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078912" y="5195489"/>
            <a:ext cx="847725" cy="84772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10"/>
          <a:srcRect r="63744" b="-701"/>
          <a:stretch/>
        </p:blipFill>
        <p:spPr>
          <a:xfrm>
            <a:off x="329184" y="6252436"/>
            <a:ext cx="384926" cy="40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1634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AQUA DETERMINATIO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9184" y="3236976"/>
            <a:ext cx="5721350" cy="2387600"/>
          </a:xfrm>
        </p:spPr>
        <p:txBody>
          <a:bodyPr anchor="t" anchorCtr="0"/>
          <a:lstStyle>
            <a:lvl1pPr algn="l">
              <a:lnSpc>
                <a:spcPts val="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AQUA DETERMINA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17D4B4-32E3-1249-8EDD-E372399E7D61}" type="datetime3">
              <a:rPr lang="en-US" smtClean="0"/>
              <a:t>23 July 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981A9E2-17C2-BC46-8432-722BE0041E6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41466" y="323291"/>
            <a:ext cx="5721350" cy="572135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/>
          <a:srcRect r="63744" b="-701"/>
          <a:stretch/>
        </p:blipFill>
        <p:spPr>
          <a:xfrm>
            <a:off x="329184" y="6252436"/>
            <a:ext cx="384926" cy="40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5718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AQUA OUTCOME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9184" y="3236976"/>
            <a:ext cx="5721350" cy="2387600"/>
          </a:xfrm>
        </p:spPr>
        <p:txBody>
          <a:bodyPr anchor="t" anchorCtr="0"/>
          <a:lstStyle>
            <a:lvl1pPr algn="l">
              <a:lnSpc>
                <a:spcPts val="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AQUA OUTCOM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17D4B4-32E3-1249-8EDD-E372399E7D61}" type="datetime3">
              <a:rPr lang="en-US" smtClean="0"/>
              <a:t>23 July 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A775A6C-09CC-3043-A416-0769853923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51563" y="323291"/>
            <a:ext cx="5721350" cy="572135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/>
          <a:srcRect r="63744" b="-701"/>
          <a:stretch/>
        </p:blipFill>
        <p:spPr>
          <a:xfrm>
            <a:off x="329184" y="6252436"/>
            <a:ext cx="384926" cy="40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4460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AQUA PATTER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9184" y="3236976"/>
            <a:ext cx="5707343" cy="2387600"/>
          </a:xfrm>
        </p:spPr>
        <p:txBody>
          <a:bodyPr anchor="t" anchorCtr="0"/>
          <a:lstStyle>
            <a:lvl1pPr algn="l">
              <a:lnSpc>
                <a:spcPts val="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aqua patter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552173-E8D3-4B4D-8AD0-7DCDFD3AE6A1}" type="datetime3">
              <a:rPr lang="en-US" smtClean="0"/>
              <a:t>23 July 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C32C4C2-5012-8A4E-9976-D06B71975E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44113" y="2266214"/>
            <a:ext cx="863600" cy="8636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127EC68-2C75-BA45-9985-62B9AA9620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155474" y="4198938"/>
            <a:ext cx="864453" cy="86445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26F4148-A6EF-0B41-BA3C-1DBDAAEC3CC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078913" y="2252663"/>
            <a:ext cx="855663" cy="85566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D9537E7A-1C25-2C41-A190-05050CC53E0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180013" y="307975"/>
            <a:ext cx="847725" cy="84772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C220902C-155B-D849-ACE7-AE85807C1B5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124699" y="5195489"/>
            <a:ext cx="849311" cy="84931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76977E99-4A69-794B-BD3C-48DA4888475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128384" y="307975"/>
            <a:ext cx="854075" cy="854075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CE4EE1B-2FEB-154C-8F29-E45EE5E328D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lum bright="100000"/>
          </a:blip>
          <a:stretch>
            <a:fillRect/>
          </a:stretch>
        </p:blipFill>
        <p:spPr>
          <a:xfrm>
            <a:off x="11041203" y="1287463"/>
            <a:ext cx="849312" cy="849312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D2EE7049-3688-B94D-848E-9AB6B82282D5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lum bright="100000"/>
          </a:blip>
          <a:stretch>
            <a:fillRect/>
          </a:stretch>
        </p:blipFill>
        <p:spPr>
          <a:xfrm>
            <a:off x="8087519" y="3212307"/>
            <a:ext cx="869156" cy="869156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C15D96E2-281C-3F46-8843-E17D1E113E7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078912" y="4214813"/>
            <a:ext cx="847725" cy="84772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7E8B41F-2066-2542-8B55-00B3A99114F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044068" y="3232465"/>
            <a:ext cx="849311" cy="84931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E6544F6-B72E-C748-B9C0-4584A6B4220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126259" y="2245832"/>
            <a:ext cx="847725" cy="847725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10"/>
          <a:srcRect r="63744" b="-701"/>
          <a:stretch/>
        </p:blipFill>
        <p:spPr>
          <a:xfrm>
            <a:off x="329184" y="6252436"/>
            <a:ext cx="384926" cy="40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41978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302839"/>
            <a:ext cx="11558588" cy="37819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640541"/>
            <a:ext cx="11558588" cy="43046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078912" y="6356350"/>
            <a:ext cx="1817687" cy="1988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408B322-4539-3841-8FEC-C8BFD8B08418}" type="datetime3">
              <a:rPr lang="en-US" smtClean="0"/>
              <a:t>23 July 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51562" y="6355977"/>
            <a:ext cx="2795587" cy="1988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65859" y="6356350"/>
            <a:ext cx="407054" cy="1988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973FCEF-5573-7E43-8272-70C9D66591D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7202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86" r:id="rId2"/>
    <p:sldLayoutId id="2147483685" r:id="rId3"/>
    <p:sldLayoutId id="2147483675" r:id="rId4"/>
    <p:sldLayoutId id="2147483687" r:id="rId5"/>
    <p:sldLayoutId id="2147483678" r:id="rId6"/>
    <p:sldLayoutId id="2147483676" r:id="rId7"/>
    <p:sldLayoutId id="2147483688" r:id="rId8"/>
    <p:sldLayoutId id="2147483679" r:id="rId9"/>
    <p:sldLayoutId id="2147483677" r:id="rId10"/>
    <p:sldLayoutId id="2147483689" r:id="rId11"/>
    <p:sldLayoutId id="2147483680" r:id="rId12"/>
    <p:sldLayoutId id="2147483650" r:id="rId13"/>
    <p:sldLayoutId id="2147483652" r:id="rId14"/>
    <p:sldLayoutId id="2147483660" r:id="rId15"/>
    <p:sldLayoutId id="2147483684" r:id="rId16"/>
    <p:sldLayoutId id="2147483661" r:id="rId17"/>
    <p:sldLayoutId id="2147483662" r:id="rId18"/>
    <p:sldLayoutId id="2147483663" r:id="rId19"/>
    <p:sldLayoutId id="2147483664" r:id="rId20"/>
    <p:sldLayoutId id="2147483665" r:id="rId21"/>
    <p:sldLayoutId id="2147483654" r:id="rId22"/>
    <p:sldLayoutId id="2147483666" r:id="rId23"/>
    <p:sldLayoutId id="2147483667" r:id="rId24"/>
    <p:sldLayoutId id="2147483668" r:id="rId25"/>
    <p:sldLayoutId id="2147483669" r:id="rId26"/>
    <p:sldLayoutId id="2147483670" r:id="rId27"/>
    <p:sldLayoutId id="2147483671" r:id="rId28"/>
    <p:sldLayoutId id="2147483655" r:id="rId29"/>
    <p:sldLayoutId id="2147483690" r:id="rId30"/>
    <p:sldLayoutId id="2147483672" r:id="rId31"/>
    <p:sldLayoutId id="2147483681" r:id="rId32"/>
    <p:sldLayoutId id="2147483682" r:id="rId33"/>
    <p:sldLayoutId id="2147483683" r:id="rId34"/>
    <p:sldLayoutId id="2147483674" r:id="rId35"/>
    <p:sldLayoutId id="2147483691" r:id="rId36"/>
    <p:sldLayoutId id="2147483692" r:id="rId3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F610D"/>
        </a:buClr>
        <a:buSzPct val="60000"/>
        <a:buFont typeface="Arial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F610D"/>
        </a:buClr>
        <a:buSzPct val="60000"/>
        <a:buFont typeface="Arial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65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F610D"/>
        </a:buClr>
        <a:buSzPct val="80000"/>
        <a:buFont typeface="System Font Regular"/>
        <a:buChar char="–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193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F610D"/>
        </a:buClr>
        <a:buSzPct val="80000"/>
        <a:buFont typeface="System Font Regular"/>
        <a:buChar char="–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28" userDrawn="1">
          <p15:clr>
            <a:srgbClr val="F26B43"/>
          </p15:clr>
        </p15:guide>
        <p15:guide id="2" orient="horz" pos="194" userDrawn="1">
          <p15:clr>
            <a:srgbClr val="F26B43"/>
          </p15:clr>
        </p15:guide>
        <p15:guide id="3" orient="horz" pos="811" userDrawn="1">
          <p15:clr>
            <a:srgbClr val="F26B43"/>
          </p15:clr>
        </p15:guide>
        <p15:guide id="4" orient="horz" pos="4129" userDrawn="1">
          <p15:clr>
            <a:srgbClr val="F26B43"/>
          </p15:clr>
        </p15:guide>
        <p15:guide id="5" orient="horz" pos="3802" userDrawn="1">
          <p15:clr>
            <a:srgbClr val="F26B43"/>
          </p15:clr>
        </p15:guide>
        <p15:guide id="6" orient="horz" pos="3264" userDrawn="1">
          <p15:clr>
            <a:srgbClr val="F26B43"/>
          </p15:clr>
        </p15:guide>
        <p15:guide id="7" orient="horz" pos="3189" userDrawn="1">
          <p15:clr>
            <a:srgbClr val="F26B43"/>
          </p15:clr>
        </p15:guide>
        <p15:guide id="8" orient="horz" pos="1344" userDrawn="1">
          <p15:clr>
            <a:srgbClr val="F26B43"/>
          </p15:clr>
        </p15:guide>
        <p15:guide id="9" orient="horz" pos="1419" userDrawn="1">
          <p15:clr>
            <a:srgbClr val="F26B43"/>
          </p15:clr>
        </p15:guide>
        <p15:guide id="10" orient="horz" pos="2645" userDrawn="1">
          <p15:clr>
            <a:srgbClr val="F26B43"/>
          </p15:clr>
        </p15:guide>
        <p15:guide id="11" orient="horz" pos="2571" userDrawn="1">
          <p15:clr>
            <a:srgbClr val="F26B43"/>
          </p15:clr>
        </p15:guide>
        <p15:guide id="12" orient="horz" pos="1963" userDrawn="1">
          <p15:clr>
            <a:srgbClr val="F26B43"/>
          </p15:clr>
        </p15:guide>
        <p15:guide id="13" orient="horz" pos="2037" userDrawn="1">
          <p15:clr>
            <a:srgbClr val="F26B43"/>
          </p15:clr>
        </p15:guide>
        <p15:guide id="14" pos="198" userDrawn="1">
          <p15:clr>
            <a:srgbClr val="F26B43"/>
          </p15:clr>
        </p15:guide>
        <p15:guide id="15" pos="7479" userDrawn="1">
          <p15:clr>
            <a:srgbClr val="F26B43"/>
          </p15:clr>
        </p15:guide>
        <p15:guide id="16" pos="6940" userDrawn="1">
          <p15:clr>
            <a:srgbClr val="F26B43"/>
          </p15:clr>
        </p15:guide>
        <p15:guide id="17" pos="6861" userDrawn="1">
          <p15:clr>
            <a:srgbClr val="F26B43"/>
          </p15:clr>
        </p15:guide>
        <p15:guide id="18" pos="728" userDrawn="1">
          <p15:clr>
            <a:srgbClr val="F26B43"/>
          </p15:clr>
        </p15:guide>
        <p15:guide id="19" pos="806" userDrawn="1">
          <p15:clr>
            <a:srgbClr val="F26B43"/>
          </p15:clr>
        </p15:guide>
        <p15:guide id="20" pos="6327" userDrawn="1">
          <p15:clr>
            <a:srgbClr val="F26B43"/>
          </p15:clr>
        </p15:guide>
        <p15:guide id="21" pos="6253" userDrawn="1">
          <p15:clr>
            <a:srgbClr val="F26B43"/>
          </p15:clr>
        </p15:guide>
        <p15:guide id="22" pos="1346" userDrawn="1">
          <p15:clr>
            <a:srgbClr val="F26B43"/>
          </p15:clr>
        </p15:guide>
        <p15:guide id="23" pos="1415" userDrawn="1">
          <p15:clr>
            <a:srgbClr val="F26B43"/>
          </p15:clr>
        </p15:guide>
        <p15:guide id="24" pos="1954" userDrawn="1">
          <p15:clr>
            <a:srgbClr val="F26B43"/>
          </p15:clr>
        </p15:guide>
        <p15:guide id="25" pos="2032" userDrawn="1">
          <p15:clr>
            <a:srgbClr val="F26B43"/>
          </p15:clr>
        </p15:guide>
        <p15:guide id="26" pos="5719" userDrawn="1">
          <p15:clr>
            <a:srgbClr val="F26B43"/>
          </p15:clr>
        </p15:guide>
        <p15:guide id="27" pos="5636" userDrawn="1">
          <p15:clr>
            <a:srgbClr val="F26B43"/>
          </p15:clr>
        </p15:guide>
        <p15:guide id="28" pos="2567" userDrawn="1">
          <p15:clr>
            <a:srgbClr val="F26B43"/>
          </p15:clr>
        </p15:guide>
        <p15:guide id="29" pos="5101" userDrawn="1">
          <p15:clr>
            <a:srgbClr val="F26B43"/>
          </p15:clr>
        </p15:guide>
        <p15:guide id="30" pos="2640" userDrawn="1">
          <p15:clr>
            <a:srgbClr val="F26B43"/>
          </p15:clr>
        </p15:guide>
        <p15:guide id="31" pos="5027" userDrawn="1">
          <p15:clr>
            <a:srgbClr val="F26B43"/>
          </p15:clr>
        </p15:guide>
        <p15:guide id="32" pos="3184" userDrawn="1">
          <p15:clr>
            <a:srgbClr val="F26B43"/>
          </p15:clr>
        </p15:guide>
        <p15:guide id="33" pos="3258" userDrawn="1">
          <p15:clr>
            <a:srgbClr val="F26B43"/>
          </p15:clr>
        </p15:guide>
        <p15:guide id="34" pos="4488" userDrawn="1">
          <p15:clr>
            <a:srgbClr val="F26B43"/>
          </p15:clr>
        </p15:guide>
        <p15:guide id="35" pos="4410" userDrawn="1">
          <p15:clr>
            <a:srgbClr val="F26B43"/>
          </p15:clr>
        </p15:guide>
        <p15:guide id="36" pos="3875" userDrawn="1">
          <p15:clr>
            <a:srgbClr val="F26B43"/>
          </p15:clr>
        </p15:guide>
        <p15:guide id="37" pos="3797" userDrawn="1">
          <p15:clr>
            <a:srgbClr val="F26B43"/>
          </p15:clr>
        </p15:guide>
        <p15:guide id="38" orient="horz" pos="38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3.xml"/><Relationship Id="rId5" Type="http://schemas.openxmlformats.org/officeDocument/2006/relationships/image" Target="../media/image36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bbpa.org/its-time-to-learn-from-black-female-entrepreneurs/" TargetMode="External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39.svg"/><Relationship Id="rId7" Type="http://schemas.openxmlformats.org/officeDocument/2006/relationships/image" Target="../media/image43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2.png"/><Relationship Id="rId11" Type="http://schemas.openxmlformats.org/officeDocument/2006/relationships/image" Target="../media/image47.svg"/><Relationship Id="rId5" Type="http://schemas.openxmlformats.org/officeDocument/2006/relationships/image" Target="../media/image41.svg"/><Relationship Id="rId10" Type="http://schemas.openxmlformats.org/officeDocument/2006/relationships/image" Target="../media/image46.png"/><Relationship Id="rId4" Type="http://schemas.openxmlformats.org/officeDocument/2006/relationships/image" Target="../media/image40.png"/><Relationship Id="rId9" Type="http://schemas.openxmlformats.org/officeDocument/2006/relationships/image" Target="../media/image45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51.svg"/><Relationship Id="rId4" Type="http://schemas.openxmlformats.org/officeDocument/2006/relationships/image" Target="../media/image5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171539-4396-E84B-9B0B-32507DFC79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BRACING DESIGN THINK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D96600-21B3-9746-B4F4-76B6C56636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 Pathway to Sustainable and Inclusive Project Management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577A2D-D46E-1748-B779-01F735DAB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By: Manuella Asianoa</a:t>
            </a:r>
          </a:p>
        </p:txBody>
      </p:sp>
    </p:spTree>
    <p:extLst>
      <p:ext uri="{BB962C8B-B14F-4D97-AF65-F5344CB8AC3E}">
        <p14:creationId xmlns:p14="http://schemas.microsoft.com/office/powerpoint/2010/main" val="3851905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E740D1-0E05-4AD5-8F39-1BABEA8969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BE740D1-0E05-4AD5-8F39-1BABEA896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7" name="Group 26">
            <a:extLst>
              <a:ext uri="{FF2B5EF4-FFF2-40B4-BE49-F238E27FC236}">
                <a16:creationId xmlns:a16="http://schemas.microsoft.com/office/drawing/2014/main" id="{D41EBBE0-7E38-4659-A72E-D1694CD6AEA0}"/>
              </a:ext>
            </a:extLst>
          </p:cNvPr>
          <p:cNvGrpSpPr/>
          <p:nvPr/>
        </p:nvGrpSpPr>
        <p:grpSpPr>
          <a:xfrm>
            <a:off x="185161" y="1077191"/>
            <a:ext cx="11204886" cy="4642227"/>
            <a:chOff x="2802647" y="827676"/>
            <a:chExt cx="12648061" cy="501906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2D8E3372-EAC6-44D1-9951-10505A1B21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7621" y="3809379"/>
              <a:ext cx="774150" cy="1659315"/>
            </a:xfrm>
            <a:custGeom>
              <a:avLst/>
              <a:gdLst>
                <a:gd name="T0" fmla="*/ 245 w 245"/>
                <a:gd name="T1" fmla="*/ 1024 h 1049"/>
                <a:gd name="T2" fmla="*/ 214 w 245"/>
                <a:gd name="T3" fmla="*/ 1049 h 1049"/>
                <a:gd name="T4" fmla="*/ 0 w 245"/>
                <a:gd name="T5" fmla="*/ 26 h 1049"/>
                <a:gd name="T6" fmla="*/ 31 w 245"/>
                <a:gd name="T7" fmla="*/ 0 h 1049"/>
                <a:gd name="T8" fmla="*/ 245 w 245"/>
                <a:gd name="T9" fmla="*/ 1024 h 10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1049">
                  <a:moveTo>
                    <a:pt x="245" y="1024"/>
                  </a:moveTo>
                  <a:lnTo>
                    <a:pt x="214" y="1049"/>
                  </a:lnTo>
                  <a:lnTo>
                    <a:pt x="0" y="26"/>
                  </a:lnTo>
                  <a:lnTo>
                    <a:pt x="31" y="0"/>
                  </a:lnTo>
                  <a:lnTo>
                    <a:pt x="245" y="1024"/>
                  </a:lnTo>
                  <a:close/>
                </a:path>
              </a:pathLst>
            </a:custGeom>
            <a:solidFill>
              <a:srgbClr val="3134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19307D12-858C-49EC-B4FC-A313908AF7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3007" y="3720798"/>
              <a:ext cx="774150" cy="1660896"/>
            </a:xfrm>
            <a:custGeom>
              <a:avLst/>
              <a:gdLst>
                <a:gd name="T0" fmla="*/ 245 w 245"/>
                <a:gd name="T1" fmla="*/ 1024 h 1050"/>
                <a:gd name="T2" fmla="*/ 214 w 245"/>
                <a:gd name="T3" fmla="*/ 1050 h 1050"/>
                <a:gd name="T4" fmla="*/ 0 w 245"/>
                <a:gd name="T5" fmla="*/ 26 h 1050"/>
                <a:gd name="T6" fmla="*/ 31 w 245"/>
                <a:gd name="T7" fmla="*/ 0 h 1050"/>
                <a:gd name="T8" fmla="*/ 245 w 245"/>
                <a:gd name="T9" fmla="*/ 1024 h 1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1050">
                  <a:moveTo>
                    <a:pt x="245" y="1024"/>
                  </a:moveTo>
                  <a:lnTo>
                    <a:pt x="214" y="1050"/>
                  </a:lnTo>
                  <a:lnTo>
                    <a:pt x="0" y="26"/>
                  </a:lnTo>
                  <a:lnTo>
                    <a:pt x="31" y="0"/>
                  </a:lnTo>
                  <a:lnTo>
                    <a:pt x="245" y="1024"/>
                  </a:lnTo>
                  <a:close/>
                </a:path>
              </a:pathLst>
            </a:custGeom>
            <a:solidFill>
              <a:srgbClr val="3134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224ADDA2-967A-47D1-9A49-AF334CE3CF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0333" y="5324749"/>
              <a:ext cx="2189736" cy="455560"/>
            </a:xfrm>
            <a:custGeom>
              <a:avLst/>
              <a:gdLst>
                <a:gd name="T0" fmla="*/ 1571 w 1571"/>
                <a:gd name="T1" fmla="*/ 327 h 327"/>
                <a:gd name="T2" fmla="*/ 1571 w 1571"/>
                <a:gd name="T3" fmla="*/ 181 h 327"/>
                <a:gd name="T4" fmla="*/ 1389 w 1571"/>
                <a:gd name="T5" fmla="*/ 0 h 327"/>
                <a:gd name="T6" fmla="*/ 181 w 1571"/>
                <a:gd name="T7" fmla="*/ 0 h 327"/>
                <a:gd name="T8" fmla="*/ 0 w 1571"/>
                <a:gd name="T9" fmla="*/ 181 h 327"/>
                <a:gd name="T10" fmla="*/ 0 w 1571"/>
                <a:gd name="T11" fmla="*/ 327 h 327"/>
                <a:gd name="T12" fmla="*/ 1571 w 1571"/>
                <a:gd name="T13" fmla="*/ 327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1" h="327">
                  <a:moveTo>
                    <a:pt x="1571" y="327"/>
                  </a:moveTo>
                  <a:cubicBezTo>
                    <a:pt x="1571" y="181"/>
                    <a:pt x="1571" y="181"/>
                    <a:pt x="1571" y="181"/>
                  </a:cubicBezTo>
                  <a:cubicBezTo>
                    <a:pt x="1571" y="81"/>
                    <a:pt x="1489" y="0"/>
                    <a:pt x="1389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81" y="0"/>
                    <a:pt x="0" y="81"/>
                    <a:pt x="0" y="181"/>
                  </a:cubicBezTo>
                  <a:cubicBezTo>
                    <a:pt x="0" y="327"/>
                    <a:pt x="0" y="327"/>
                    <a:pt x="0" y="327"/>
                  </a:cubicBezTo>
                  <a:lnTo>
                    <a:pt x="1571" y="32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E77EC469-124E-404A-ACA0-139E2F18CE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6687" y="5384858"/>
              <a:ext cx="2192895" cy="457142"/>
            </a:xfrm>
            <a:custGeom>
              <a:avLst/>
              <a:gdLst>
                <a:gd name="T0" fmla="*/ 1571 w 1571"/>
                <a:gd name="T1" fmla="*/ 327 h 327"/>
                <a:gd name="T2" fmla="*/ 1571 w 1571"/>
                <a:gd name="T3" fmla="*/ 181 h 327"/>
                <a:gd name="T4" fmla="*/ 1389 w 1571"/>
                <a:gd name="T5" fmla="*/ 0 h 327"/>
                <a:gd name="T6" fmla="*/ 181 w 1571"/>
                <a:gd name="T7" fmla="*/ 0 h 327"/>
                <a:gd name="T8" fmla="*/ 0 w 1571"/>
                <a:gd name="T9" fmla="*/ 181 h 327"/>
                <a:gd name="T10" fmla="*/ 0 w 1571"/>
                <a:gd name="T11" fmla="*/ 327 h 327"/>
                <a:gd name="T12" fmla="*/ 1571 w 1571"/>
                <a:gd name="T13" fmla="*/ 327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1" h="327">
                  <a:moveTo>
                    <a:pt x="1571" y="327"/>
                  </a:moveTo>
                  <a:cubicBezTo>
                    <a:pt x="1571" y="181"/>
                    <a:pt x="1571" y="181"/>
                    <a:pt x="1571" y="181"/>
                  </a:cubicBezTo>
                  <a:cubicBezTo>
                    <a:pt x="1571" y="81"/>
                    <a:pt x="1489" y="0"/>
                    <a:pt x="1389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81" y="0"/>
                    <a:pt x="0" y="81"/>
                    <a:pt x="0" y="181"/>
                  </a:cubicBezTo>
                  <a:cubicBezTo>
                    <a:pt x="0" y="327"/>
                    <a:pt x="0" y="327"/>
                    <a:pt x="0" y="327"/>
                  </a:cubicBezTo>
                  <a:lnTo>
                    <a:pt x="1571" y="327"/>
                  </a:lnTo>
                  <a:close/>
                </a:path>
              </a:pathLst>
            </a:custGeom>
            <a:solidFill>
              <a:srgbClr val="3134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582BE090-C043-4D91-A46D-5AFD40052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9562" y="5183969"/>
              <a:ext cx="445531" cy="136035"/>
            </a:xfrm>
            <a:custGeom>
              <a:avLst/>
              <a:gdLst>
                <a:gd name="T0" fmla="*/ 318 w 318"/>
                <a:gd name="T1" fmla="*/ 97 h 97"/>
                <a:gd name="T2" fmla="*/ 318 w 318"/>
                <a:gd name="T3" fmla="*/ 37 h 97"/>
                <a:gd name="T4" fmla="*/ 282 w 318"/>
                <a:gd name="T5" fmla="*/ 0 h 97"/>
                <a:gd name="T6" fmla="*/ 37 w 318"/>
                <a:gd name="T7" fmla="*/ 0 h 97"/>
                <a:gd name="T8" fmla="*/ 0 w 318"/>
                <a:gd name="T9" fmla="*/ 37 h 97"/>
                <a:gd name="T10" fmla="*/ 0 w 318"/>
                <a:gd name="T11" fmla="*/ 97 h 97"/>
                <a:gd name="T12" fmla="*/ 318 w 318"/>
                <a:gd name="T13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8" h="97">
                  <a:moveTo>
                    <a:pt x="318" y="97"/>
                  </a:moveTo>
                  <a:cubicBezTo>
                    <a:pt x="318" y="37"/>
                    <a:pt x="318" y="37"/>
                    <a:pt x="318" y="37"/>
                  </a:cubicBezTo>
                  <a:cubicBezTo>
                    <a:pt x="318" y="17"/>
                    <a:pt x="302" y="0"/>
                    <a:pt x="2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7" y="0"/>
                    <a:pt x="0" y="17"/>
                    <a:pt x="0" y="37"/>
                  </a:cubicBezTo>
                  <a:cubicBezTo>
                    <a:pt x="0" y="97"/>
                    <a:pt x="0" y="97"/>
                    <a:pt x="0" y="97"/>
                  </a:cubicBezTo>
                  <a:lnTo>
                    <a:pt x="318" y="97"/>
                  </a:lnTo>
                  <a:close/>
                </a:path>
              </a:pathLst>
            </a:custGeom>
            <a:solidFill>
              <a:srgbClr val="3134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45EE06A9-AA72-4019-8459-3B066C4E21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7172" y="1493615"/>
              <a:ext cx="1238638" cy="1586552"/>
            </a:xfrm>
            <a:custGeom>
              <a:avLst/>
              <a:gdLst>
                <a:gd name="T0" fmla="*/ 26 w 392"/>
                <a:gd name="T1" fmla="*/ 1003 h 1003"/>
                <a:gd name="T2" fmla="*/ 0 w 392"/>
                <a:gd name="T3" fmla="*/ 963 h 1003"/>
                <a:gd name="T4" fmla="*/ 365 w 392"/>
                <a:gd name="T5" fmla="*/ 0 h 1003"/>
                <a:gd name="T6" fmla="*/ 392 w 392"/>
                <a:gd name="T7" fmla="*/ 39 h 1003"/>
                <a:gd name="T8" fmla="*/ 26 w 392"/>
                <a:gd name="T9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2" h="1003">
                  <a:moveTo>
                    <a:pt x="26" y="1003"/>
                  </a:moveTo>
                  <a:lnTo>
                    <a:pt x="0" y="963"/>
                  </a:lnTo>
                  <a:lnTo>
                    <a:pt x="365" y="0"/>
                  </a:lnTo>
                  <a:lnTo>
                    <a:pt x="392" y="39"/>
                  </a:lnTo>
                  <a:lnTo>
                    <a:pt x="26" y="1003"/>
                  </a:lnTo>
                  <a:close/>
                </a:path>
              </a:pathLst>
            </a:custGeom>
            <a:solidFill>
              <a:srgbClr val="3134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A080BF5B-73DF-4C06-B385-3E81584B2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3079" y="1624906"/>
              <a:ext cx="1219679" cy="1565988"/>
            </a:xfrm>
            <a:custGeom>
              <a:avLst/>
              <a:gdLst>
                <a:gd name="T0" fmla="*/ 26 w 386"/>
                <a:gd name="T1" fmla="*/ 990 h 990"/>
                <a:gd name="T2" fmla="*/ 0 w 386"/>
                <a:gd name="T3" fmla="*/ 950 h 990"/>
                <a:gd name="T4" fmla="*/ 360 w 386"/>
                <a:gd name="T5" fmla="*/ 0 h 990"/>
                <a:gd name="T6" fmla="*/ 386 w 386"/>
                <a:gd name="T7" fmla="*/ 41 h 990"/>
                <a:gd name="T8" fmla="*/ 26 w 386"/>
                <a:gd name="T9" fmla="*/ 990 h 9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6" h="990">
                  <a:moveTo>
                    <a:pt x="26" y="990"/>
                  </a:moveTo>
                  <a:lnTo>
                    <a:pt x="0" y="950"/>
                  </a:lnTo>
                  <a:lnTo>
                    <a:pt x="360" y="0"/>
                  </a:lnTo>
                  <a:lnTo>
                    <a:pt x="386" y="41"/>
                  </a:lnTo>
                  <a:lnTo>
                    <a:pt x="26" y="990"/>
                  </a:lnTo>
                  <a:close/>
                </a:path>
              </a:pathLst>
            </a:custGeom>
            <a:solidFill>
              <a:srgbClr val="3134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Oval 12">
              <a:extLst>
                <a:ext uri="{FF2B5EF4-FFF2-40B4-BE49-F238E27FC236}">
                  <a16:creationId xmlns:a16="http://schemas.microsoft.com/office/drawing/2014/main" id="{9AFC52C3-9A07-4B9C-B2A0-5758CDA04C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2647" y="2996331"/>
              <a:ext cx="900541" cy="901629"/>
            </a:xfrm>
            <a:prstGeom prst="ellipse">
              <a:avLst/>
            </a:prstGeom>
            <a:solidFill>
              <a:srgbClr val="3134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A0829104-F95A-4D6A-9007-8142DF1632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7748" y="889366"/>
              <a:ext cx="1099607" cy="1134155"/>
            </a:xfrm>
            <a:custGeom>
              <a:avLst/>
              <a:gdLst>
                <a:gd name="T0" fmla="*/ 119 w 790"/>
                <a:gd name="T1" fmla="*/ 94 h 812"/>
                <a:gd name="T2" fmla="*/ 93 w 790"/>
                <a:gd name="T3" fmla="*/ 457 h 812"/>
                <a:gd name="T4" fmla="*/ 401 w 790"/>
                <a:gd name="T5" fmla="*/ 812 h 812"/>
                <a:gd name="T6" fmla="*/ 790 w 790"/>
                <a:gd name="T7" fmla="*/ 474 h 812"/>
                <a:gd name="T8" fmla="*/ 483 w 790"/>
                <a:gd name="T9" fmla="*/ 120 h 812"/>
                <a:gd name="T10" fmla="*/ 119 w 790"/>
                <a:gd name="T11" fmla="*/ 94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90" h="812">
                  <a:moveTo>
                    <a:pt x="119" y="94"/>
                  </a:moveTo>
                  <a:cubicBezTo>
                    <a:pt x="12" y="187"/>
                    <a:pt x="0" y="350"/>
                    <a:pt x="93" y="457"/>
                  </a:cubicBezTo>
                  <a:cubicBezTo>
                    <a:pt x="401" y="812"/>
                    <a:pt x="401" y="812"/>
                    <a:pt x="401" y="812"/>
                  </a:cubicBezTo>
                  <a:cubicBezTo>
                    <a:pt x="790" y="474"/>
                    <a:pt x="790" y="474"/>
                    <a:pt x="790" y="474"/>
                  </a:cubicBezTo>
                  <a:cubicBezTo>
                    <a:pt x="483" y="120"/>
                    <a:pt x="483" y="120"/>
                    <a:pt x="483" y="120"/>
                  </a:cubicBezTo>
                  <a:cubicBezTo>
                    <a:pt x="389" y="12"/>
                    <a:pt x="227" y="0"/>
                    <a:pt x="119" y="9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D4DFD71E-4B73-4AD0-BF0E-86D94A76BB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7785" y="827676"/>
              <a:ext cx="1102768" cy="1134155"/>
            </a:xfrm>
            <a:custGeom>
              <a:avLst/>
              <a:gdLst>
                <a:gd name="T0" fmla="*/ 119 w 790"/>
                <a:gd name="T1" fmla="*/ 94 h 812"/>
                <a:gd name="T2" fmla="*/ 93 w 790"/>
                <a:gd name="T3" fmla="*/ 457 h 812"/>
                <a:gd name="T4" fmla="*/ 401 w 790"/>
                <a:gd name="T5" fmla="*/ 812 h 812"/>
                <a:gd name="T6" fmla="*/ 790 w 790"/>
                <a:gd name="T7" fmla="*/ 474 h 812"/>
                <a:gd name="T8" fmla="*/ 483 w 790"/>
                <a:gd name="T9" fmla="*/ 120 h 812"/>
                <a:gd name="T10" fmla="*/ 119 w 790"/>
                <a:gd name="T11" fmla="*/ 94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90" h="812">
                  <a:moveTo>
                    <a:pt x="119" y="94"/>
                  </a:moveTo>
                  <a:cubicBezTo>
                    <a:pt x="12" y="187"/>
                    <a:pt x="0" y="350"/>
                    <a:pt x="93" y="457"/>
                  </a:cubicBezTo>
                  <a:cubicBezTo>
                    <a:pt x="401" y="812"/>
                    <a:pt x="401" y="812"/>
                    <a:pt x="401" y="812"/>
                  </a:cubicBezTo>
                  <a:cubicBezTo>
                    <a:pt x="790" y="474"/>
                    <a:pt x="790" y="474"/>
                    <a:pt x="790" y="474"/>
                  </a:cubicBezTo>
                  <a:cubicBezTo>
                    <a:pt x="483" y="120"/>
                    <a:pt x="483" y="120"/>
                    <a:pt x="483" y="120"/>
                  </a:cubicBezTo>
                  <a:cubicBezTo>
                    <a:pt x="389" y="12"/>
                    <a:pt x="227" y="0"/>
                    <a:pt x="119" y="94"/>
                  </a:cubicBezTo>
                  <a:close/>
                </a:path>
              </a:pathLst>
            </a:custGeom>
            <a:solidFill>
              <a:srgbClr val="3134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Oval 15">
              <a:extLst>
                <a:ext uri="{FF2B5EF4-FFF2-40B4-BE49-F238E27FC236}">
                  <a16:creationId xmlns:a16="http://schemas.microsoft.com/office/drawing/2014/main" id="{E7261648-7BC5-48AA-9E22-95E3245485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75323" y="3069094"/>
              <a:ext cx="755191" cy="7561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Oval 16">
              <a:extLst>
                <a:ext uri="{FF2B5EF4-FFF2-40B4-BE49-F238E27FC236}">
                  <a16:creationId xmlns:a16="http://schemas.microsoft.com/office/drawing/2014/main" id="{A01D3195-61D2-4BD0-AD0E-FC20D30EFF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110" y="3243093"/>
              <a:ext cx="404453" cy="406525"/>
            </a:xfrm>
            <a:prstGeom prst="ellipse">
              <a:avLst/>
            </a:prstGeom>
            <a:solidFill>
              <a:srgbClr val="3134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id="{33B5488B-C7F0-49AB-AF25-C020FB41F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5279" y="1961831"/>
              <a:ext cx="10265429" cy="3884911"/>
            </a:xfrm>
            <a:custGeom>
              <a:avLst/>
              <a:gdLst>
                <a:gd name="T0" fmla="*/ 1530 w 1530"/>
                <a:gd name="T1" fmla="*/ 2556 h 2556"/>
                <a:gd name="T2" fmla="*/ 241 w 1530"/>
                <a:gd name="T3" fmla="*/ 2556 h 2556"/>
                <a:gd name="T4" fmla="*/ 0 w 1530"/>
                <a:gd name="T5" fmla="*/ 596 h 2556"/>
                <a:gd name="T6" fmla="*/ 276 w 1530"/>
                <a:gd name="T7" fmla="*/ 0 h 2556"/>
                <a:gd name="T8" fmla="*/ 1530 w 1530"/>
                <a:gd name="T9" fmla="*/ 2556 h 2556"/>
                <a:gd name="connsiteX0" fmla="*/ 10000 w 10000"/>
                <a:gd name="connsiteY0" fmla="*/ 9913 h 9913"/>
                <a:gd name="connsiteX1" fmla="*/ 1575 w 10000"/>
                <a:gd name="connsiteY1" fmla="*/ 9913 h 9913"/>
                <a:gd name="connsiteX2" fmla="*/ 0 w 10000"/>
                <a:gd name="connsiteY2" fmla="*/ 2245 h 9913"/>
                <a:gd name="connsiteX3" fmla="*/ 1435 w 10000"/>
                <a:gd name="connsiteY3" fmla="*/ 0 h 9913"/>
                <a:gd name="connsiteX4" fmla="*/ 10000 w 10000"/>
                <a:gd name="connsiteY4" fmla="*/ 9913 h 9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9913">
                  <a:moveTo>
                    <a:pt x="10000" y="9913"/>
                  </a:moveTo>
                  <a:lnTo>
                    <a:pt x="1575" y="9913"/>
                  </a:lnTo>
                  <a:lnTo>
                    <a:pt x="0" y="2245"/>
                  </a:lnTo>
                  <a:lnTo>
                    <a:pt x="1435" y="0"/>
                  </a:lnTo>
                  <a:lnTo>
                    <a:pt x="10000" y="9913"/>
                  </a:lnTo>
                  <a:close/>
                </a:path>
              </a:pathLst>
            </a:custGeom>
            <a:solidFill>
              <a:srgbClr val="05BFE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id="{BF19D3D2-A79B-4C78-84B6-12684F32E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4805" y="1226291"/>
              <a:ext cx="1933792" cy="1896586"/>
            </a:xfrm>
            <a:custGeom>
              <a:avLst/>
              <a:gdLst>
                <a:gd name="T0" fmla="*/ 297 w 1385"/>
                <a:gd name="T1" fmla="*/ 258 h 1358"/>
                <a:gd name="T2" fmla="*/ 307 w 1385"/>
                <a:gd name="T3" fmla="*/ 1358 h 1358"/>
                <a:gd name="T4" fmla="*/ 1385 w 1385"/>
                <a:gd name="T5" fmla="*/ 423 h 1358"/>
                <a:gd name="T6" fmla="*/ 297 w 1385"/>
                <a:gd name="T7" fmla="*/ 258 h 1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85" h="1358">
                  <a:moveTo>
                    <a:pt x="297" y="258"/>
                  </a:moveTo>
                  <a:cubicBezTo>
                    <a:pt x="0" y="516"/>
                    <a:pt x="4" y="1008"/>
                    <a:pt x="307" y="1358"/>
                  </a:cubicBezTo>
                  <a:cubicBezTo>
                    <a:pt x="1385" y="423"/>
                    <a:pt x="1385" y="423"/>
                    <a:pt x="1385" y="423"/>
                  </a:cubicBezTo>
                  <a:cubicBezTo>
                    <a:pt x="1082" y="74"/>
                    <a:pt x="595" y="0"/>
                    <a:pt x="297" y="258"/>
                  </a:cubicBezTo>
                  <a:close/>
                </a:path>
              </a:pathLst>
            </a:custGeom>
            <a:solidFill>
              <a:srgbClr val="3134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825C8DF-6434-4949-8C83-A89A7D18000A}"/>
              </a:ext>
            </a:extLst>
          </p:cNvPr>
          <p:cNvGrpSpPr/>
          <p:nvPr/>
        </p:nvGrpSpPr>
        <p:grpSpPr>
          <a:xfrm>
            <a:off x="3691110" y="2383650"/>
            <a:ext cx="5137740" cy="571665"/>
            <a:chOff x="4834471" y="1533942"/>
            <a:chExt cx="5137740" cy="571665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1C51ED14-126D-4889-B0E8-EF12A714E3EC}"/>
                </a:ext>
              </a:extLst>
            </p:cNvPr>
            <p:cNvSpPr txBox="1"/>
            <p:nvPr/>
          </p:nvSpPr>
          <p:spPr>
            <a:xfrm>
              <a:off x="5464519" y="1651528"/>
              <a:ext cx="4507692" cy="369332"/>
            </a:xfrm>
            <a:prstGeom prst="rect">
              <a:avLst/>
            </a:prstGeom>
            <a:noFill/>
          </p:spPr>
          <p:txBody>
            <a:bodyPr wrap="square" lIns="108000" rIns="108000" rtlCol="0">
              <a:spAutoFit/>
            </a:bodyPr>
            <a:lstStyle/>
            <a:p>
              <a:r>
                <a:rPr lang="en-US" altLang="ko-KR" b="1" dirty="0">
                  <a:cs typeface="Arial" pitchFamily="34" charset="0"/>
                </a:rPr>
                <a:t>Understanding Design Thinking</a:t>
              </a:r>
              <a:endParaRPr lang="ko-KR" altLang="en-US" b="1" dirty="0">
                <a:cs typeface="Arial" pitchFamily="34" charset="0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643DF485-51A9-448E-B76E-ABB39E3B9E55}"/>
                </a:ext>
              </a:extLst>
            </p:cNvPr>
            <p:cNvSpPr/>
            <p:nvPr/>
          </p:nvSpPr>
          <p:spPr>
            <a:xfrm>
              <a:off x="4834471" y="1533942"/>
              <a:ext cx="599366" cy="571665"/>
            </a:xfrm>
            <a:prstGeom prst="ellipse">
              <a:avLst/>
            </a:prstGeom>
            <a:solidFill>
              <a:schemeClr val="tx1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1</a:t>
              </a: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8D82186-17C3-453B-8068-04067653241D}"/>
              </a:ext>
            </a:extLst>
          </p:cNvPr>
          <p:cNvGrpSpPr/>
          <p:nvPr/>
        </p:nvGrpSpPr>
        <p:grpSpPr>
          <a:xfrm>
            <a:off x="3691110" y="3076837"/>
            <a:ext cx="5137740" cy="763917"/>
            <a:chOff x="4834471" y="1533942"/>
            <a:chExt cx="5137740" cy="763917"/>
          </a:xfrm>
        </p:grpSpPr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487BB92C-E79E-4707-8706-4BD6022A73F8}"/>
                </a:ext>
              </a:extLst>
            </p:cNvPr>
            <p:cNvSpPr txBox="1"/>
            <p:nvPr/>
          </p:nvSpPr>
          <p:spPr>
            <a:xfrm>
              <a:off x="5464519" y="1651528"/>
              <a:ext cx="4507692" cy="646331"/>
            </a:xfrm>
            <a:prstGeom prst="rect">
              <a:avLst/>
            </a:prstGeom>
            <a:noFill/>
          </p:spPr>
          <p:txBody>
            <a:bodyPr wrap="square" lIns="108000" rIns="108000" rtlCol="0">
              <a:spAutoFit/>
            </a:bodyPr>
            <a:lstStyle/>
            <a:p>
              <a:r>
                <a:rPr lang="en-US" b="1" dirty="0">
                  <a:cs typeface="Arial" pitchFamily="34" charset="0"/>
                </a:rPr>
                <a:t>Applications to Project Management</a:t>
              </a:r>
            </a:p>
            <a:p>
              <a:endParaRPr lang="ko-KR" altLang="en-US" b="1" dirty="0">
                <a:cs typeface="Arial" pitchFamily="34" charset="0"/>
              </a:endParaRPr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4C5F6F32-5528-4FE0-822B-49B2F2397159}"/>
                </a:ext>
              </a:extLst>
            </p:cNvPr>
            <p:cNvSpPr/>
            <p:nvPr/>
          </p:nvSpPr>
          <p:spPr>
            <a:xfrm>
              <a:off x="4834471" y="1533942"/>
              <a:ext cx="599366" cy="571665"/>
            </a:xfrm>
            <a:prstGeom prst="ellipse">
              <a:avLst/>
            </a:prstGeom>
            <a:solidFill>
              <a:schemeClr val="tx1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A1EF9E0E-D431-4823-8B3D-58AED038DFF7}"/>
              </a:ext>
            </a:extLst>
          </p:cNvPr>
          <p:cNvGrpSpPr/>
          <p:nvPr/>
        </p:nvGrpSpPr>
        <p:grpSpPr>
          <a:xfrm>
            <a:off x="3691110" y="3760525"/>
            <a:ext cx="5137740" cy="571665"/>
            <a:chOff x="4834471" y="1533942"/>
            <a:chExt cx="5137740" cy="571665"/>
          </a:xfrm>
        </p:grpSpPr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ED0C6F21-E42F-4C8C-BBEE-EC683703D492}"/>
                </a:ext>
              </a:extLst>
            </p:cNvPr>
            <p:cNvSpPr txBox="1"/>
            <p:nvPr/>
          </p:nvSpPr>
          <p:spPr>
            <a:xfrm>
              <a:off x="5464519" y="1651528"/>
              <a:ext cx="4507692" cy="369332"/>
            </a:xfrm>
            <a:prstGeom prst="rect">
              <a:avLst/>
            </a:prstGeom>
            <a:noFill/>
          </p:spPr>
          <p:txBody>
            <a:bodyPr wrap="square" lIns="108000" rIns="108000" rtlCol="0">
              <a:spAutoFit/>
            </a:bodyPr>
            <a:lstStyle/>
            <a:p>
              <a:r>
                <a:rPr lang="en-US" altLang="ko-KR" b="1" dirty="0">
                  <a:cs typeface="Arial" pitchFamily="34" charset="0"/>
                </a:rPr>
                <a:t>Case Studies</a:t>
              </a:r>
              <a:endParaRPr lang="ko-KR" altLang="en-US" b="1" dirty="0">
                <a:cs typeface="Arial" pitchFamily="34" charset="0"/>
              </a:endParaRPr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A624A9B2-75B4-4BD9-BBCB-9A6BD86A0FB1}"/>
                </a:ext>
              </a:extLst>
            </p:cNvPr>
            <p:cNvSpPr/>
            <p:nvPr/>
          </p:nvSpPr>
          <p:spPr>
            <a:xfrm>
              <a:off x="4834471" y="1533942"/>
              <a:ext cx="599366" cy="571665"/>
            </a:xfrm>
            <a:prstGeom prst="ellipse">
              <a:avLst/>
            </a:prstGeom>
            <a:solidFill>
              <a:schemeClr val="tx1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3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88B3A231-DAD4-480D-8A60-705270FE33B5}"/>
              </a:ext>
            </a:extLst>
          </p:cNvPr>
          <p:cNvGrpSpPr/>
          <p:nvPr/>
        </p:nvGrpSpPr>
        <p:grpSpPr>
          <a:xfrm>
            <a:off x="3691110" y="4451946"/>
            <a:ext cx="5499080" cy="571665"/>
            <a:chOff x="4834471" y="1533942"/>
            <a:chExt cx="5499080" cy="571665"/>
          </a:xfrm>
        </p:grpSpPr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1CC931EA-BC74-4A55-AA3D-54DA632C7F3E}"/>
                </a:ext>
              </a:extLst>
            </p:cNvPr>
            <p:cNvSpPr txBox="1"/>
            <p:nvPr/>
          </p:nvSpPr>
          <p:spPr>
            <a:xfrm>
              <a:off x="5464518" y="1651528"/>
              <a:ext cx="4869033" cy="369332"/>
            </a:xfrm>
            <a:prstGeom prst="rect">
              <a:avLst/>
            </a:prstGeom>
            <a:noFill/>
          </p:spPr>
          <p:txBody>
            <a:bodyPr wrap="square" lIns="108000" rIns="108000" rtlCol="0">
              <a:spAutoFit/>
            </a:bodyPr>
            <a:lstStyle/>
            <a:p>
              <a:pPr marL="233363" indent="-233363">
                <a:defRPr/>
              </a:pPr>
              <a:r>
                <a:rPr lang="en-US" b="1" dirty="0">
                  <a:cs typeface="Arial" pitchFamily="34" charset="0"/>
                </a:rPr>
                <a:t>Benefits of Design Thinking in Project Mgt</a:t>
              </a:r>
            </a:p>
          </p:txBody>
        </p: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8DDA359E-8511-4428-8C35-9D37537149C7}"/>
                </a:ext>
              </a:extLst>
            </p:cNvPr>
            <p:cNvSpPr/>
            <p:nvPr/>
          </p:nvSpPr>
          <p:spPr>
            <a:xfrm>
              <a:off x="4834471" y="1533942"/>
              <a:ext cx="599366" cy="571665"/>
            </a:xfrm>
            <a:prstGeom prst="ellipse">
              <a:avLst/>
            </a:prstGeom>
            <a:solidFill>
              <a:schemeClr val="tx1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4</a:t>
              </a:r>
            </a:p>
          </p:txBody>
        </p: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BB033A-3564-4C38-9034-BCE7BCC432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2</a:t>
            </a:fld>
            <a:endParaRPr lang="en-ZA" dirty="0"/>
          </a:p>
        </p:txBody>
      </p:sp>
      <p:sp>
        <p:nvSpPr>
          <p:cNvPr id="35" name="Title 56">
            <a:extLst>
              <a:ext uri="{FF2B5EF4-FFF2-40B4-BE49-F238E27FC236}">
                <a16:creationId xmlns:a16="http://schemas.microsoft.com/office/drawing/2014/main" id="{94ECA2C7-3EC7-48A1-B192-ECC8EB9BC311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801688" y="225425"/>
            <a:ext cx="11390312" cy="4937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00" b="1" dirty="0">
                <a:latin typeface="Arial" panose="020B0604020202020204" pitchFamily="34" charset="0"/>
                <a:cs typeface="Arial" panose="020B0604020202020204" pitchFamily="34" charset="0"/>
              </a:rPr>
              <a:t>Key Points for discussion</a:t>
            </a:r>
          </a:p>
        </p:txBody>
      </p:sp>
      <p:sp>
        <p:nvSpPr>
          <p:cNvPr id="36" name="Title 56">
            <a:extLst>
              <a:ext uri="{FF2B5EF4-FFF2-40B4-BE49-F238E27FC236}">
                <a16:creationId xmlns:a16="http://schemas.microsoft.com/office/drawing/2014/main" id="{15DD572C-16B3-4C73-B7EF-89930D852128}"/>
              </a:ext>
            </a:extLst>
          </p:cNvPr>
          <p:cNvSpPr txBox="1">
            <a:spLocks/>
          </p:cNvSpPr>
          <p:nvPr/>
        </p:nvSpPr>
        <p:spPr>
          <a:xfrm>
            <a:off x="6409215" y="2051478"/>
            <a:ext cx="5027743" cy="3883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US" sz="2000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D6F9F10-5588-50AE-E2C1-F6404258185D}"/>
              </a:ext>
            </a:extLst>
          </p:cNvPr>
          <p:cNvGrpSpPr/>
          <p:nvPr/>
        </p:nvGrpSpPr>
        <p:grpSpPr>
          <a:xfrm>
            <a:off x="3691110" y="5143367"/>
            <a:ext cx="5499080" cy="571665"/>
            <a:chOff x="4834471" y="1533942"/>
            <a:chExt cx="5499080" cy="571665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F0400E4-65B1-3BC1-95DD-FBCAD99B8DE2}"/>
                </a:ext>
              </a:extLst>
            </p:cNvPr>
            <p:cNvSpPr txBox="1"/>
            <p:nvPr/>
          </p:nvSpPr>
          <p:spPr>
            <a:xfrm>
              <a:off x="5464518" y="1651528"/>
              <a:ext cx="4869033" cy="369332"/>
            </a:xfrm>
            <a:prstGeom prst="rect">
              <a:avLst/>
            </a:prstGeom>
            <a:noFill/>
          </p:spPr>
          <p:txBody>
            <a:bodyPr wrap="square" lIns="108000" rIns="108000" rtlCol="0">
              <a:spAutoFit/>
            </a:bodyPr>
            <a:lstStyle/>
            <a:p>
              <a:pPr marL="233363" indent="-233363">
                <a:defRPr/>
              </a:pPr>
              <a:r>
                <a:rPr lang="en-US" b="1" dirty="0">
                  <a:cs typeface="Arial" pitchFamily="34" charset="0"/>
                </a:rPr>
                <a:t>Challenges and Solutions</a:t>
              </a: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948F2054-E36D-235F-2236-E0EDB456462B}"/>
                </a:ext>
              </a:extLst>
            </p:cNvPr>
            <p:cNvSpPr/>
            <p:nvPr/>
          </p:nvSpPr>
          <p:spPr>
            <a:xfrm>
              <a:off x="4834471" y="1533942"/>
              <a:ext cx="599366" cy="571665"/>
            </a:xfrm>
            <a:prstGeom prst="ellipse">
              <a:avLst/>
            </a:prstGeom>
            <a:solidFill>
              <a:schemeClr val="tx1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493055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BC46BB-356C-E945-B3A3-26A234B06D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325" y="302839"/>
            <a:ext cx="5705475" cy="378198"/>
          </a:xfrm>
        </p:spPr>
        <p:txBody>
          <a:bodyPr anchor="ctr">
            <a:normAutofit/>
          </a:bodyPr>
          <a:lstStyle/>
          <a:p>
            <a:r>
              <a:rPr lang="en-US" sz="2600" b="1" dirty="0"/>
              <a:t>Understanding Design Think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08AC6F-3714-8A46-B173-853C633CC0C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14325" y="1097280"/>
            <a:ext cx="5705475" cy="49383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/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Human-centered approach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Problem-solving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Understanding user needs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Challenging assumptions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Redefining problems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Identify alternative strategies and solu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9155C33-8EF7-1049-9D26-1D713AEA34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78912" y="6356350"/>
            <a:ext cx="1817687" cy="198812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E0CE6344-EE14-7E4A-AC31-B51FAA17DD2B}" type="datetime3">
              <a:rPr lang="en-US" smtClean="0"/>
              <a:pPr>
                <a:spcAft>
                  <a:spcPts val="600"/>
                </a:spcAft>
              </a:pPr>
              <a:t>23 July 2024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7731060D-2DB6-C34A-9EDE-DAB2BD85E7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151562" y="6355977"/>
            <a:ext cx="2795587" cy="198812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EMBRACING DESIGN THINKING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D969FAE2-84D7-F146-925D-46C1E98339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65859" y="6356350"/>
            <a:ext cx="407054" cy="198812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6973FCEF-5573-7E43-8272-70C9D66591DA}" type="slidenum">
              <a:rPr lang="en-US" smtClean="0"/>
              <a:pPr>
                <a:spcAft>
                  <a:spcPts val="600"/>
                </a:spcAft>
              </a:pPr>
              <a:t>3</a:t>
            </a:fld>
            <a:endParaRPr lang="en-US"/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AEF000E4-BBF2-0C4C-B3E2-AC91CE72491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25370" r="15245"/>
          <a:stretch/>
        </p:blipFill>
        <p:spPr>
          <a:xfrm>
            <a:off x="6151563" y="303213"/>
            <a:ext cx="5721350" cy="5732462"/>
          </a:xfrm>
          <a:noFill/>
        </p:spPr>
      </p:pic>
    </p:spTree>
    <p:extLst>
      <p:ext uri="{BB962C8B-B14F-4D97-AF65-F5344CB8AC3E}">
        <p14:creationId xmlns:p14="http://schemas.microsoft.com/office/powerpoint/2010/main" val="27247744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C274C7-C9EB-264D-8DBE-910D85145A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Stages of Design Thinking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083DED-36A7-BA4D-857D-2F58025564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CA741-EFF6-9B4F-B80B-0FBBB6871F49}" type="datetime3">
              <a:rPr lang="en-US" smtClean="0"/>
              <a:t>23 July 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ACD405-56F0-DC4E-A8AE-97B9A2DC25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EMBRACING DESIGN THINKING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BE7ACE-9C41-8D4A-9234-B5B68637A3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t>4</a:t>
            </a:fld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DF0A057-28AF-13BC-E566-174A4D1DB1AB}"/>
              </a:ext>
            </a:extLst>
          </p:cNvPr>
          <p:cNvSpPr/>
          <p:nvPr/>
        </p:nvSpPr>
        <p:spPr>
          <a:xfrm>
            <a:off x="5485722" y="3201647"/>
            <a:ext cx="1196553" cy="1196553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86"/>
            <a:endParaRPr lang="ko-KR" altLang="en-US" sz="1200">
              <a:solidFill>
                <a:prstClr val="black"/>
              </a:solidFill>
              <a:latin typeface="+mj-lt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D816ABC-6EB1-F2AC-CA1C-6AE388DFA0EF}"/>
              </a:ext>
            </a:extLst>
          </p:cNvPr>
          <p:cNvGrpSpPr/>
          <p:nvPr/>
        </p:nvGrpSpPr>
        <p:grpSpPr>
          <a:xfrm>
            <a:off x="5567920" y="3283845"/>
            <a:ext cx="1032157" cy="1032157"/>
            <a:chOff x="4023402" y="3219622"/>
            <a:chExt cx="1080120" cy="1080120"/>
          </a:xfrm>
        </p:grpSpPr>
        <p:sp>
          <p:nvSpPr>
            <p:cNvPr id="14" name="Block Arc 13">
              <a:extLst>
                <a:ext uri="{FF2B5EF4-FFF2-40B4-BE49-F238E27FC236}">
                  <a16:creationId xmlns:a16="http://schemas.microsoft.com/office/drawing/2014/main" id="{BD15E957-4375-A823-BA65-D71102CFB733}"/>
                </a:ext>
              </a:extLst>
            </p:cNvPr>
            <p:cNvSpPr/>
            <p:nvPr/>
          </p:nvSpPr>
          <p:spPr>
            <a:xfrm rot="1800000">
              <a:off x="4023402" y="3219622"/>
              <a:ext cx="1080120" cy="1080120"/>
            </a:xfrm>
            <a:prstGeom prst="blockArc">
              <a:avLst>
                <a:gd name="adj1" fmla="val 10800000"/>
                <a:gd name="adj2" fmla="val 14902241"/>
                <a:gd name="adj3" fmla="val 20569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86"/>
              <a:endParaRPr lang="ko-KR" altLang="en-US" sz="1200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15" name="Block Arc 14">
              <a:extLst>
                <a:ext uri="{FF2B5EF4-FFF2-40B4-BE49-F238E27FC236}">
                  <a16:creationId xmlns:a16="http://schemas.microsoft.com/office/drawing/2014/main" id="{B311816D-663C-FE2B-0E1A-B7329769394A}"/>
                </a:ext>
              </a:extLst>
            </p:cNvPr>
            <p:cNvSpPr/>
            <p:nvPr/>
          </p:nvSpPr>
          <p:spPr>
            <a:xfrm rot="19080000">
              <a:off x="4023402" y="3219622"/>
              <a:ext cx="1080120" cy="1080120"/>
            </a:xfrm>
            <a:prstGeom prst="blockArc">
              <a:avLst>
                <a:gd name="adj1" fmla="val 10800000"/>
                <a:gd name="adj2" fmla="val 14902241"/>
                <a:gd name="adj3" fmla="val 20569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86"/>
              <a:endParaRPr lang="ko-KR" altLang="en-US" sz="1200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16" name="Block Arc 15">
              <a:extLst>
                <a:ext uri="{FF2B5EF4-FFF2-40B4-BE49-F238E27FC236}">
                  <a16:creationId xmlns:a16="http://schemas.microsoft.com/office/drawing/2014/main" id="{16B60465-2673-ED82-2201-AEF0E48EBEF2}"/>
                </a:ext>
              </a:extLst>
            </p:cNvPr>
            <p:cNvSpPr/>
            <p:nvPr/>
          </p:nvSpPr>
          <p:spPr>
            <a:xfrm rot="14700000">
              <a:off x="4023402" y="3219622"/>
              <a:ext cx="1080120" cy="1080120"/>
            </a:xfrm>
            <a:prstGeom prst="blockArc">
              <a:avLst>
                <a:gd name="adj1" fmla="val 10800000"/>
                <a:gd name="adj2" fmla="val 14902241"/>
                <a:gd name="adj3" fmla="val 20569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86"/>
              <a:endParaRPr lang="ko-KR" altLang="en-US" sz="1200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17" name="Block Arc 16">
              <a:extLst>
                <a:ext uri="{FF2B5EF4-FFF2-40B4-BE49-F238E27FC236}">
                  <a16:creationId xmlns:a16="http://schemas.microsoft.com/office/drawing/2014/main" id="{57D8F4E9-8F09-4C79-AD57-E6CC172E6DF3}"/>
                </a:ext>
              </a:extLst>
            </p:cNvPr>
            <p:cNvSpPr/>
            <p:nvPr/>
          </p:nvSpPr>
          <p:spPr>
            <a:xfrm rot="10440000">
              <a:off x="4023402" y="3219622"/>
              <a:ext cx="1080120" cy="1080120"/>
            </a:xfrm>
            <a:prstGeom prst="blockArc">
              <a:avLst>
                <a:gd name="adj1" fmla="val 10800000"/>
                <a:gd name="adj2" fmla="val 14902241"/>
                <a:gd name="adj3" fmla="val 20569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86"/>
              <a:endParaRPr lang="ko-KR" altLang="en-US" sz="1200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18" name="Block Arc 17">
              <a:extLst>
                <a:ext uri="{FF2B5EF4-FFF2-40B4-BE49-F238E27FC236}">
                  <a16:creationId xmlns:a16="http://schemas.microsoft.com/office/drawing/2014/main" id="{369E70F0-232D-9A82-2EFE-46CA50A26C74}"/>
                </a:ext>
              </a:extLst>
            </p:cNvPr>
            <p:cNvSpPr/>
            <p:nvPr/>
          </p:nvSpPr>
          <p:spPr>
            <a:xfrm rot="6120000">
              <a:off x="4023402" y="3219622"/>
              <a:ext cx="1080120" cy="1080120"/>
            </a:xfrm>
            <a:prstGeom prst="blockArc">
              <a:avLst>
                <a:gd name="adj1" fmla="val 10800000"/>
                <a:gd name="adj2" fmla="val 14902241"/>
                <a:gd name="adj3" fmla="val 20569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86"/>
              <a:endParaRPr lang="ko-KR" altLang="en-US" sz="1200">
                <a:solidFill>
                  <a:prstClr val="black"/>
                </a:solidFill>
                <a:latin typeface="+mj-lt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952A0E0-93BF-71DB-F13C-BD9A3C7654B4}"/>
              </a:ext>
            </a:extLst>
          </p:cNvPr>
          <p:cNvGrpSpPr/>
          <p:nvPr/>
        </p:nvGrpSpPr>
        <p:grpSpPr>
          <a:xfrm>
            <a:off x="3881614" y="1739778"/>
            <a:ext cx="4428772" cy="4259759"/>
            <a:chOff x="2185685" y="1605569"/>
            <a:chExt cx="4731783" cy="4551210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B1861C1-367E-1F57-B475-095DCD42CBB8}"/>
                </a:ext>
              </a:extLst>
            </p:cNvPr>
            <p:cNvGrpSpPr/>
            <p:nvPr/>
          </p:nvGrpSpPr>
          <p:grpSpPr>
            <a:xfrm rot="3600000">
              <a:off x="4888007" y="1768971"/>
              <a:ext cx="1261779" cy="1898518"/>
              <a:chOff x="3970237" y="1678193"/>
              <a:chExt cx="1091921" cy="1642943"/>
            </a:xfrm>
          </p:grpSpPr>
          <p:sp>
            <p:nvSpPr>
              <p:cNvPr id="33" name="Teardrop 4">
                <a:extLst>
                  <a:ext uri="{FF2B5EF4-FFF2-40B4-BE49-F238E27FC236}">
                    <a16:creationId xmlns:a16="http://schemas.microsoft.com/office/drawing/2014/main" id="{AECB922D-11A7-6AA6-A617-DB9B5E9DB8E0}"/>
                  </a:ext>
                </a:extLst>
              </p:cNvPr>
              <p:cNvSpPr/>
              <p:nvPr/>
            </p:nvSpPr>
            <p:spPr>
              <a:xfrm rot="10800000">
                <a:off x="3970237" y="1678193"/>
                <a:ext cx="1091921" cy="1642943"/>
              </a:xfrm>
              <a:custGeom>
                <a:avLst/>
                <a:gdLst/>
                <a:ahLst/>
                <a:cxnLst/>
                <a:rect l="l" t="t" r="r" b="b"/>
                <a:pathLst>
                  <a:path w="1091921" h="1642943">
                    <a:moveTo>
                      <a:pt x="504056" y="1642943"/>
                    </a:moveTo>
                    <a:cubicBezTo>
                      <a:pt x="225674" y="1642943"/>
                      <a:pt x="0" y="1417269"/>
                      <a:pt x="0" y="1138887"/>
                    </a:cubicBezTo>
                    <a:cubicBezTo>
                      <a:pt x="0" y="894120"/>
                      <a:pt x="174465" y="690100"/>
                      <a:pt x="405888" y="644727"/>
                    </a:cubicBezTo>
                    <a:cubicBezTo>
                      <a:pt x="415871" y="637085"/>
                      <a:pt x="426805" y="631149"/>
                      <a:pt x="437891" y="625616"/>
                    </a:cubicBezTo>
                    <a:cubicBezTo>
                      <a:pt x="621825" y="533815"/>
                      <a:pt x="704331" y="158955"/>
                      <a:pt x="566414" y="0"/>
                    </a:cubicBezTo>
                    <a:cubicBezTo>
                      <a:pt x="1101455" y="231762"/>
                      <a:pt x="1193710" y="682767"/>
                      <a:pt x="996550" y="1248239"/>
                    </a:cubicBezTo>
                    <a:lnTo>
                      <a:pt x="990853" y="1263082"/>
                    </a:lnTo>
                    <a:cubicBezTo>
                      <a:pt x="937110" y="1481624"/>
                      <a:pt x="739422" y="1642943"/>
                      <a:pt x="504056" y="1642943"/>
                    </a:cubicBezTo>
                    <a:close/>
                  </a:path>
                </a:pathLst>
              </a:custGeom>
              <a:solidFill>
                <a:schemeClr val="accent5">
                  <a:alpha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/>
                <a:endParaRPr lang="ko-KR" altLang="en-US" sz="1200">
                  <a:solidFill>
                    <a:prstClr val="black"/>
                  </a:solidFill>
                  <a:latin typeface="+mj-lt"/>
                </a:endParaRPr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9612E38B-90BE-759A-C187-4364E71AED03}"/>
                  </a:ext>
                </a:extLst>
              </p:cNvPr>
              <p:cNvSpPr/>
              <p:nvPr/>
            </p:nvSpPr>
            <p:spPr>
              <a:xfrm>
                <a:off x="4136683" y="1760831"/>
                <a:ext cx="842835" cy="842835"/>
              </a:xfrm>
              <a:prstGeom prst="ellipse">
                <a:avLst/>
              </a:prstGeom>
              <a:solidFill>
                <a:schemeClr val="accent5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/>
                <a:endParaRPr lang="ko-KR" altLang="en-US" sz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+mj-lt"/>
                </a:endParaRP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8A9C7269-0E3B-193E-A4A6-7B7A323D8602}"/>
                </a:ext>
              </a:extLst>
            </p:cNvPr>
            <p:cNvGrpSpPr/>
            <p:nvPr/>
          </p:nvGrpSpPr>
          <p:grpSpPr>
            <a:xfrm rot="20700000">
              <a:off x="3184574" y="1605569"/>
              <a:ext cx="1261779" cy="1898518"/>
              <a:chOff x="3954829" y="1674065"/>
              <a:chExt cx="1091921" cy="1642943"/>
            </a:xfrm>
          </p:grpSpPr>
          <p:sp>
            <p:nvSpPr>
              <p:cNvPr id="31" name="Teardrop 4">
                <a:extLst>
                  <a:ext uri="{FF2B5EF4-FFF2-40B4-BE49-F238E27FC236}">
                    <a16:creationId xmlns:a16="http://schemas.microsoft.com/office/drawing/2014/main" id="{62EDFEB5-30F4-B7EF-1893-01AD1168FCCE}"/>
                  </a:ext>
                </a:extLst>
              </p:cNvPr>
              <p:cNvSpPr/>
              <p:nvPr/>
            </p:nvSpPr>
            <p:spPr>
              <a:xfrm rot="10800000">
                <a:off x="3954829" y="1674065"/>
                <a:ext cx="1091921" cy="1642943"/>
              </a:xfrm>
              <a:custGeom>
                <a:avLst/>
                <a:gdLst/>
                <a:ahLst/>
                <a:cxnLst/>
                <a:rect l="l" t="t" r="r" b="b"/>
                <a:pathLst>
                  <a:path w="1091921" h="1642943">
                    <a:moveTo>
                      <a:pt x="504056" y="1642943"/>
                    </a:moveTo>
                    <a:cubicBezTo>
                      <a:pt x="225674" y="1642943"/>
                      <a:pt x="0" y="1417269"/>
                      <a:pt x="0" y="1138887"/>
                    </a:cubicBezTo>
                    <a:cubicBezTo>
                      <a:pt x="0" y="894120"/>
                      <a:pt x="174465" y="690100"/>
                      <a:pt x="405888" y="644727"/>
                    </a:cubicBezTo>
                    <a:cubicBezTo>
                      <a:pt x="415871" y="637085"/>
                      <a:pt x="426805" y="631149"/>
                      <a:pt x="437891" y="625616"/>
                    </a:cubicBezTo>
                    <a:cubicBezTo>
                      <a:pt x="621825" y="533815"/>
                      <a:pt x="704331" y="158955"/>
                      <a:pt x="566414" y="0"/>
                    </a:cubicBezTo>
                    <a:cubicBezTo>
                      <a:pt x="1101455" y="231762"/>
                      <a:pt x="1193710" y="682767"/>
                      <a:pt x="996550" y="1248239"/>
                    </a:cubicBezTo>
                    <a:lnTo>
                      <a:pt x="990853" y="1263082"/>
                    </a:lnTo>
                    <a:cubicBezTo>
                      <a:pt x="937110" y="1481624"/>
                      <a:pt x="739422" y="1642943"/>
                      <a:pt x="504056" y="1642943"/>
                    </a:cubicBezTo>
                    <a:close/>
                  </a:path>
                </a:pathLst>
              </a:custGeom>
              <a:solidFill>
                <a:schemeClr val="accent4">
                  <a:alpha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/>
                <a:endParaRPr lang="ko-KR" altLang="en-US" sz="1200">
                  <a:solidFill>
                    <a:prstClr val="black"/>
                  </a:solidFill>
                  <a:latin typeface="+mj-lt"/>
                </a:endParaRPr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2DE22697-3E6C-729D-F116-79EF1A497254}"/>
                  </a:ext>
                </a:extLst>
              </p:cNvPr>
              <p:cNvSpPr/>
              <p:nvPr/>
            </p:nvSpPr>
            <p:spPr>
              <a:xfrm>
                <a:off x="4121275" y="1756703"/>
                <a:ext cx="842835" cy="842835"/>
              </a:xfrm>
              <a:prstGeom prst="ellipse">
                <a:avLst/>
              </a:prstGeom>
              <a:solidFill>
                <a:schemeClr val="accent4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/>
                <a:endParaRPr lang="ko-KR" altLang="en-US" sz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+mj-lt"/>
                </a:endParaRP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BAA12792-0BCB-E3D7-9F19-A8B9B7DBDE1B}"/>
                </a:ext>
              </a:extLst>
            </p:cNvPr>
            <p:cNvGrpSpPr/>
            <p:nvPr/>
          </p:nvGrpSpPr>
          <p:grpSpPr>
            <a:xfrm rot="17100000">
              <a:off x="2504054" y="3011231"/>
              <a:ext cx="1261779" cy="1898518"/>
              <a:chOff x="3880957" y="1643161"/>
              <a:chExt cx="1091921" cy="1642943"/>
            </a:xfrm>
          </p:grpSpPr>
          <p:sp>
            <p:nvSpPr>
              <p:cNvPr id="29" name="Teardrop 4">
                <a:extLst>
                  <a:ext uri="{FF2B5EF4-FFF2-40B4-BE49-F238E27FC236}">
                    <a16:creationId xmlns:a16="http://schemas.microsoft.com/office/drawing/2014/main" id="{2D66478B-80E7-8BEB-1F79-2C01733663E5}"/>
                  </a:ext>
                </a:extLst>
              </p:cNvPr>
              <p:cNvSpPr/>
              <p:nvPr/>
            </p:nvSpPr>
            <p:spPr>
              <a:xfrm rot="10800000">
                <a:off x="3880957" y="1643161"/>
                <a:ext cx="1091921" cy="1642943"/>
              </a:xfrm>
              <a:custGeom>
                <a:avLst/>
                <a:gdLst/>
                <a:ahLst/>
                <a:cxnLst/>
                <a:rect l="l" t="t" r="r" b="b"/>
                <a:pathLst>
                  <a:path w="1091921" h="1642943">
                    <a:moveTo>
                      <a:pt x="504056" y="1642943"/>
                    </a:moveTo>
                    <a:cubicBezTo>
                      <a:pt x="225674" y="1642943"/>
                      <a:pt x="0" y="1417269"/>
                      <a:pt x="0" y="1138887"/>
                    </a:cubicBezTo>
                    <a:cubicBezTo>
                      <a:pt x="0" y="894120"/>
                      <a:pt x="174465" y="690100"/>
                      <a:pt x="405888" y="644727"/>
                    </a:cubicBezTo>
                    <a:cubicBezTo>
                      <a:pt x="415871" y="637085"/>
                      <a:pt x="426805" y="631149"/>
                      <a:pt x="437891" y="625616"/>
                    </a:cubicBezTo>
                    <a:cubicBezTo>
                      <a:pt x="621825" y="533815"/>
                      <a:pt x="704331" y="158955"/>
                      <a:pt x="566414" y="0"/>
                    </a:cubicBezTo>
                    <a:cubicBezTo>
                      <a:pt x="1101455" y="231762"/>
                      <a:pt x="1193710" y="682767"/>
                      <a:pt x="996550" y="1248239"/>
                    </a:cubicBezTo>
                    <a:lnTo>
                      <a:pt x="990853" y="1263082"/>
                    </a:lnTo>
                    <a:cubicBezTo>
                      <a:pt x="937110" y="1481624"/>
                      <a:pt x="739422" y="1642943"/>
                      <a:pt x="504056" y="1642943"/>
                    </a:cubicBezTo>
                    <a:close/>
                  </a:path>
                </a:pathLst>
              </a:custGeom>
              <a:solidFill>
                <a:schemeClr val="accent3">
                  <a:alpha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/>
                <a:endParaRPr lang="ko-KR" altLang="en-US" sz="1200">
                  <a:solidFill>
                    <a:prstClr val="black"/>
                  </a:solidFill>
                  <a:latin typeface="+mj-lt"/>
                </a:endParaRPr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5E6F38E9-22DC-AD36-FB59-7E0254F11F81}"/>
                  </a:ext>
                </a:extLst>
              </p:cNvPr>
              <p:cNvSpPr/>
              <p:nvPr/>
            </p:nvSpPr>
            <p:spPr>
              <a:xfrm>
                <a:off x="4047404" y="1725799"/>
                <a:ext cx="842835" cy="842835"/>
              </a:xfrm>
              <a:prstGeom prst="ellipse">
                <a:avLst/>
              </a:prstGeom>
              <a:solidFill>
                <a:schemeClr val="accent3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/>
                <a:endParaRPr lang="ko-KR" altLang="en-US" sz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+mj-lt"/>
                </a:endParaRP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48534297-2FE7-7E59-F049-98908E1F2298}"/>
                </a:ext>
              </a:extLst>
            </p:cNvPr>
            <p:cNvGrpSpPr/>
            <p:nvPr/>
          </p:nvGrpSpPr>
          <p:grpSpPr>
            <a:xfrm rot="12600000">
              <a:off x="3694237" y="4258261"/>
              <a:ext cx="1261779" cy="1898518"/>
              <a:chOff x="3906991" y="1595327"/>
              <a:chExt cx="1091921" cy="1642943"/>
            </a:xfrm>
          </p:grpSpPr>
          <p:sp>
            <p:nvSpPr>
              <p:cNvPr id="27" name="Teardrop 4">
                <a:extLst>
                  <a:ext uri="{FF2B5EF4-FFF2-40B4-BE49-F238E27FC236}">
                    <a16:creationId xmlns:a16="http://schemas.microsoft.com/office/drawing/2014/main" id="{E3A6F5DF-56CB-E7EB-8247-B496B400982D}"/>
                  </a:ext>
                </a:extLst>
              </p:cNvPr>
              <p:cNvSpPr/>
              <p:nvPr/>
            </p:nvSpPr>
            <p:spPr>
              <a:xfrm rot="10800000">
                <a:off x="3906991" y="1595327"/>
                <a:ext cx="1091921" cy="1642943"/>
              </a:xfrm>
              <a:custGeom>
                <a:avLst/>
                <a:gdLst/>
                <a:ahLst/>
                <a:cxnLst/>
                <a:rect l="l" t="t" r="r" b="b"/>
                <a:pathLst>
                  <a:path w="1091921" h="1642943">
                    <a:moveTo>
                      <a:pt x="504056" y="1642943"/>
                    </a:moveTo>
                    <a:cubicBezTo>
                      <a:pt x="225674" y="1642943"/>
                      <a:pt x="0" y="1417269"/>
                      <a:pt x="0" y="1138887"/>
                    </a:cubicBezTo>
                    <a:cubicBezTo>
                      <a:pt x="0" y="894120"/>
                      <a:pt x="174465" y="690100"/>
                      <a:pt x="405888" y="644727"/>
                    </a:cubicBezTo>
                    <a:cubicBezTo>
                      <a:pt x="415871" y="637085"/>
                      <a:pt x="426805" y="631149"/>
                      <a:pt x="437891" y="625616"/>
                    </a:cubicBezTo>
                    <a:cubicBezTo>
                      <a:pt x="621825" y="533815"/>
                      <a:pt x="704331" y="158955"/>
                      <a:pt x="566414" y="0"/>
                    </a:cubicBezTo>
                    <a:cubicBezTo>
                      <a:pt x="1101455" y="231762"/>
                      <a:pt x="1193710" y="682767"/>
                      <a:pt x="996550" y="1248239"/>
                    </a:cubicBezTo>
                    <a:lnTo>
                      <a:pt x="990853" y="1263082"/>
                    </a:lnTo>
                    <a:cubicBezTo>
                      <a:pt x="937110" y="1481624"/>
                      <a:pt x="739422" y="1642943"/>
                      <a:pt x="504056" y="1642943"/>
                    </a:cubicBezTo>
                    <a:close/>
                  </a:path>
                </a:pathLst>
              </a:custGeom>
              <a:solidFill>
                <a:schemeClr val="accent2">
                  <a:alpha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/>
                <a:endParaRPr lang="ko-KR" altLang="en-US" sz="1200">
                  <a:solidFill>
                    <a:prstClr val="black"/>
                  </a:solidFill>
                  <a:latin typeface="+mj-lt"/>
                </a:endParaRPr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3A7227C5-36C5-4F32-C0A8-47AFFEC4089B}"/>
                  </a:ext>
                </a:extLst>
              </p:cNvPr>
              <p:cNvSpPr/>
              <p:nvPr/>
            </p:nvSpPr>
            <p:spPr>
              <a:xfrm>
                <a:off x="4073437" y="1677965"/>
                <a:ext cx="842835" cy="842835"/>
              </a:xfrm>
              <a:prstGeom prst="ellipse">
                <a:avLst/>
              </a:prstGeom>
              <a:solidFill>
                <a:schemeClr val="accent2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/>
                <a:endParaRPr lang="ko-KR" altLang="en-US" sz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+mj-lt"/>
                </a:endParaRP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CAC0B46C-943E-0667-91E3-7F85D410003F}"/>
                </a:ext>
              </a:extLst>
            </p:cNvPr>
            <p:cNvGrpSpPr/>
            <p:nvPr/>
          </p:nvGrpSpPr>
          <p:grpSpPr>
            <a:xfrm rot="7200000">
              <a:off x="5337319" y="3276515"/>
              <a:ext cx="1261779" cy="1898518"/>
              <a:chOff x="3983024" y="1653099"/>
              <a:chExt cx="1091921" cy="1642943"/>
            </a:xfrm>
          </p:grpSpPr>
          <p:sp>
            <p:nvSpPr>
              <p:cNvPr id="25" name="Teardrop 4">
                <a:extLst>
                  <a:ext uri="{FF2B5EF4-FFF2-40B4-BE49-F238E27FC236}">
                    <a16:creationId xmlns:a16="http://schemas.microsoft.com/office/drawing/2014/main" id="{5AFA5AF3-6268-F287-E42F-A8F71F2E34BB}"/>
                  </a:ext>
                </a:extLst>
              </p:cNvPr>
              <p:cNvSpPr/>
              <p:nvPr/>
            </p:nvSpPr>
            <p:spPr>
              <a:xfrm rot="10800000">
                <a:off x="3983024" y="1653099"/>
                <a:ext cx="1091921" cy="1642943"/>
              </a:xfrm>
              <a:custGeom>
                <a:avLst/>
                <a:gdLst/>
                <a:ahLst/>
                <a:cxnLst/>
                <a:rect l="l" t="t" r="r" b="b"/>
                <a:pathLst>
                  <a:path w="1091921" h="1642943">
                    <a:moveTo>
                      <a:pt x="504056" y="1642943"/>
                    </a:moveTo>
                    <a:cubicBezTo>
                      <a:pt x="225674" y="1642943"/>
                      <a:pt x="0" y="1417269"/>
                      <a:pt x="0" y="1138887"/>
                    </a:cubicBezTo>
                    <a:cubicBezTo>
                      <a:pt x="0" y="894120"/>
                      <a:pt x="174465" y="690100"/>
                      <a:pt x="405888" y="644727"/>
                    </a:cubicBezTo>
                    <a:cubicBezTo>
                      <a:pt x="415871" y="637085"/>
                      <a:pt x="426805" y="631149"/>
                      <a:pt x="437891" y="625616"/>
                    </a:cubicBezTo>
                    <a:cubicBezTo>
                      <a:pt x="621825" y="533815"/>
                      <a:pt x="704331" y="158955"/>
                      <a:pt x="566414" y="0"/>
                    </a:cubicBezTo>
                    <a:cubicBezTo>
                      <a:pt x="1101455" y="231762"/>
                      <a:pt x="1193710" y="682767"/>
                      <a:pt x="996550" y="1248239"/>
                    </a:cubicBezTo>
                    <a:lnTo>
                      <a:pt x="990853" y="1263082"/>
                    </a:lnTo>
                    <a:cubicBezTo>
                      <a:pt x="937110" y="1481624"/>
                      <a:pt x="739422" y="1642943"/>
                      <a:pt x="504056" y="1642943"/>
                    </a:cubicBezTo>
                    <a:close/>
                  </a:path>
                </a:pathLst>
              </a:custGeom>
              <a:solidFill>
                <a:schemeClr val="accent1">
                  <a:alpha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/>
                <a:endParaRPr lang="ko-KR" altLang="en-US" sz="1200">
                  <a:solidFill>
                    <a:prstClr val="black"/>
                  </a:solidFill>
                  <a:latin typeface="+mj-lt"/>
                </a:endParaRPr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F4EF6BC2-5E0A-DEF2-20B6-B0F002B65AD6}"/>
                  </a:ext>
                </a:extLst>
              </p:cNvPr>
              <p:cNvSpPr/>
              <p:nvPr/>
            </p:nvSpPr>
            <p:spPr>
              <a:xfrm>
                <a:off x="4149466" y="1735740"/>
                <a:ext cx="842835" cy="842835"/>
              </a:xfrm>
              <a:prstGeom prst="ellipse">
                <a:avLst/>
              </a:prstGeom>
              <a:solidFill>
                <a:schemeClr val="accent1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86"/>
                <a:endParaRPr lang="ko-KR" altLang="en-US" sz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+mj-lt"/>
                </a:endParaRPr>
              </a:p>
            </p:txBody>
          </p:sp>
        </p:grp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044812B-95BE-FDB6-9000-C348335F15C8}"/>
              </a:ext>
            </a:extLst>
          </p:cNvPr>
          <p:cNvGrpSpPr/>
          <p:nvPr/>
        </p:nvGrpSpPr>
        <p:grpSpPr>
          <a:xfrm>
            <a:off x="732930" y="3281320"/>
            <a:ext cx="3014929" cy="861775"/>
            <a:chOff x="819819" y="3646109"/>
            <a:chExt cx="1906666" cy="861775"/>
          </a:xfrm>
          <a:noFill/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CD10E72A-C44C-7870-A80B-28634DCBF872}"/>
                </a:ext>
              </a:extLst>
            </p:cNvPr>
            <p:cNvSpPr txBox="1"/>
            <p:nvPr/>
          </p:nvSpPr>
          <p:spPr>
            <a:xfrm>
              <a:off x="819821" y="3646109"/>
              <a:ext cx="1906664" cy="338554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r" defTabSz="914286"/>
              <a:r>
                <a:rPr lang="en-US" altLang="ko-KR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cs typeface="Arial" pitchFamily="34" charset="0"/>
                </a:rPr>
                <a:t>Prototype</a:t>
              </a:r>
              <a:endParaRPr lang="ko-KR" alt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D76A4B5E-55DD-4A9B-D939-3F8D0863D650}"/>
                </a:ext>
              </a:extLst>
            </p:cNvPr>
            <p:cNvSpPr txBox="1"/>
            <p:nvPr/>
          </p:nvSpPr>
          <p:spPr>
            <a:xfrm>
              <a:off x="819819" y="3923109"/>
              <a:ext cx="1906663" cy="584775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r" defTabSz="914286"/>
              <a:r>
                <a:rPr lang="en-US" sz="1600" dirty="0">
                  <a:effectLst/>
                  <a:latin typeface="+mj-lt"/>
                  <a:ea typeface="MS Mincho" panose="02020609040205080304" pitchFamily="49" charset="-128"/>
                  <a:cs typeface="Times New Roman" panose="02020603050405020304" pitchFamily="18" charset="0"/>
                </a:rPr>
                <a:t>Build tangible representations for a subset of ideas</a:t>
              </a:r>
              <a:endParaRPr lang="ko-KR" alt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  <a:cs typeface="Arial" pitchFamily="34" charset="0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290DBCE0-434E-A094-39C7-F31E4D4AD11B}"/>
              </a:ext>
            </a:extLst>
          </p:cNvPr>
          <p:cNvGrpSpPr/>
          <p:nvPr/>
        </p:nvGrpSpPr>
        <p:grpSpPr>
          <a:xfrm>
            <a:off x="732931" y="1572658"/>
            <a:ext cx="3948992" cy="1107997"/>
            <a:chOff x="819819" y="3646109"/>
            <a:chExt cx="1906666" cy="1107997"/>
          </a:xfrm>
          <a:noFill/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C5F5F00A-FE69-FA6F-27DB-F246E49B2D16}"/>
                </a:ext>
              </a:extLst>
            </p:cNvPr>
            <p:cNvSpPr txBox="1"/>
            <p:nvPr/>
          </p:nvSpPr>
          <p:spPr>
            <a:xfrm>
              <a:off x="819821" y="3646109"/>
              <a:ext cx="1906664" cy="338554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r" defTabSz="914286"/>
              <a:r>
                <a:rPr lang="en-US" altLang="ko-KR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cs typeface="Arial" pitchFamily="34" charset="0"/>
                </a:rPr>
                <a:t>Test</a:t>
              </a:r>
              <a:endParaRPr lang="ko-KR" alt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A9B716EE-CA33-9A85-E29A-0AA7404FB5E2}"/>
                </a:ext>
              </a:extLst>
            </p:cNvPr>
            <p:cNvSpPr txBox="1"/>
            <p:nvPr/>
          </p:nvSpPr>
          <p:spPr>
            <a:xfrm>
              <a:off x="819819" y="3923109"/>
              <a:ext cx="1906663" cy="830997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r" defTabSz="914286"/>
              <a:r>
                <a:rPr lang="en-US" sz="1600" dirty="0">
                  <a:effectLst/>
                  <a:latin typeface="+mj-lt"/>
                  <a:ea typeface="MS Mincho" panose="02020609040205080304" pitchFamily="49" charset="-128"/>
                  <a:cs typeface="Times New Roman" panose="02020603050405020304" pitchFamily="18" charset="0"/>
                </a:rPr>
                <a:t>Try out the prototypes with users to gather feedback and refine solutions</a:t>
              </a:r>
              <a:endParaRPr lang="ko-KR" alt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  <a:cs typeface="Arial" pitchFamily="34" charset="0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7F5363A7-0C1D-FAAA-E368-8E07D90C6D64}"/>
              </a:ext>
            </a:extLst>
          </p:cNvPr>
          <p:cNvGrpSpPr/>
          <p:nvPr/>
        </p:nvGrpSpPr>
        <p:grpSpPr>
          <a:xfrm>
            <a:off x="894080" y="4989982"/>
            <a:ext cx="4112897" cy="861775"/>
            <a:chOff x="819819" y="3646109"/>
            <a:chExt cx="1906666" cy="861775"/>
          </a:xfrm>
          <a:noFill/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A789F31F-5DC9-DAD6-5BC1-57689FF463B5}"/>
                </a:ext>
              </a:extLst>
            </p:cNvPr>
            <p:cNvSpPr txBox="1"/>
            <p:nvPr/>
          </p:nvSpPr>
          <p:spPr>
            <a:xfrm>
              <a:off x="819821" y="3646109"/>
              <a:ext cx="1906664" cy="338554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r" defTabSz="914286"/>
              <a:r>
                <a:rPr lang="en-US" altLang="ko-KR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cs typeface="Arial" pitchFamily="34" charset="0"/>
                </a:rPr>
                <a:t>Ideate</a:t>
              </a:r>
              <a:endParaRPr lang="ko-KR" alt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C64206ED-0AC3-C91E-CE47-267EFC29F288}"/>
                </a:ext>
              </a:extLst>
            </p:cNvPr>
            <p:cNvSpPr txBox="1"/>
            <p:nvPr/>
          </p:nvSpPr>
          <p:spPr>
            <a:xfrm>
              <a:off x="819819" y="3923109"/>
              <a:ext cx="1906663" cy="584775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r" defTabSz="914286"/>
              <a:r>
                <a:rPr lang="en-US" sz="1600" dirty="0">
                  <a:effectLst/>
                  <a:latin typeface="+mj-lt"/>
                  <a:ea typeface="MS Mincho" panose="02020609040205080304" pitchFamily="49" charset="-128"/>
                  <a:cs typeface="Times New Roman" panose="02020603050405020304" pitchFamily="18" charset="0"/>
                </a:rPr>
                <a:t>Generate a wide range of ideas and potential solutions</a:t>
              </a:r>
              <a:endParaRPr lang="ko-KR" alt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  <a:cs typeface="Arial" pitchFamily="34" charset="0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8CE26F45-767A-EE22-5689-27DE54229AB8}"/>
              </a:ext>
            </a:extLst>
          </p:cNvPr>
          <p:cNvGrpSpPr/>
          <p:nvPr/>
        </p:nvGrpSpPr>
        <p:grpSpPr>
          <a:xfrm>
            <a:off x="8381802" y="4135651"/>
            <a:ext cx="3220917" cy="861775"/>
            <a:chOff x="819819" y="3646109"/>
            <a:chExt cx="1906666" cy="861775"/>
          </a:xfrm>
          <a:noFill/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01F91F6C-C92C-7FCC-C273-762DDD82F35E}"/>
                </a:ext>
              </a:extLst>
            </p:cNvPr>
            <p:cNvSpPr txBox="1"/>
            <p:nvPr/>
          </p:nvSpPr>
          <p:spPr>
            <a:xfrm>
              <a:off x="819821" y="3646109"/>
              <a:ext cx="1906664" cy="338554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defTabSz="914286"/>
              <a:r>
                <a:rPr lang="en-US" altLang="ko-KR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cs typeface="Arial" pitchFamily="34" charset="0"/>
                </a:rPr>
                <a:t>Define</a:t>
              </a:r>
              <a:endParaRPr lang="ko-KR" alt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D272F2A5-7D95-5367-E201-4A41C2CAA0F3}"/>
                </a:ext>
              </a:extLst>
            </p:cNvPr>
            <p:cNvSpPr txBox="1"/>
            <p:nvPr/>
          </p:nvSpPr>
          <p:spPr>
            <a:xfrm>
              <a:off x="819819" y="3923109"/>
              <a:ext cx="1906663" cy="584775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defTabSz="914286"/>
              <a:r>
                <a:rPr lang="en-US" sz="1600" dirty="0">
                  <a:effectLst/>
                  <a:latin typeface="+mj-lt"/>
                  <a:ea typeface="MS Mincho" panose="02020609040205080304" pitchFamily="49" charset="-128"/>
                  <a:cs typeface="Times New Roman" panose="02020603050405020304" pitchFamily="18" charset="0"/>
                </a:rPr>
                <a:t>Clearly articulate the problem to be solved</a:t>
              </a:r>
              <a:endParaRPr lang="ko-KR" alt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  <a:cs typeface="Arial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0E190574-A602-CE89-4482-CD152C58F14B}"/>
              </a:ext>
            </a:extLst>
          </p:cNvPr>
          <p:cNvGrpSpPr/>
          <p:nvPr/>
        </p:nvGrpSpPr>
        <p:grpSpPr>
          <a:xfrm>
            <a:off x="7989262" y="2426989"/>
            <a:ext cx="3613458" cy="1107997"/>
            <a:chOff x="819819" y="3646109"/>
            <a:chExt cx="1906666" cy="1107997"/>
          </a:xfrm>
          <a:noFill/>
        </p:grpSpPr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823152B2-3A6F-E13D-5887-A8B9F207265C}"/>
                </a:ext>
              </a:extLst>
            </p:cNvPr>
            <p:cNvSpPr txBox="1"/>
            <p:nvPr/>
          </p:nvSpPr>
          <p:spPr>
            <a:xfrm>
              <a:off x="819821" y="3646109"/>
              <a:ext cx="1906664" cy="338554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defTabSz="914286"/>
              <a:r>
                <a:rPr lang="en-US" altLang="ko-KR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cs typeface="Arial" pitchFamily="34" charset="0"/>
                </a:rPr>
                <a:t>Empathize</a:t>
              </a:r>
              <a:endParaRPr lang="ko-KR" altLang="en-US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2D1D0662-B7C8-4257-AC80-BE08B48B9F51}"/>
                </a:ext>
              </a:extLst>
            </p:cNvPr>
            <p:cNvSpPr txBox="1"/>
            <p:nvPr/>
          </p:nvSpPr>
          <p:spPr>
            <a:xfrm>
              <a:off x="819819" y="3923109"/>
              <a:ext cx="1906663" cy="830997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defTabSz="914286"/>
              <a:r>
                <a:rPr lang="en-US" sz="1600" dirty="0">
                  <a:effectLst/>
                  <a:latin typeface="+mj-lt"/>
                  <a:ea typeface="MS Mincho" panose="02020609040205080304" pitchFamily="49" charset="-128"/>
                  <a:cs typeface="Times New Roman" panose="02020603050405020304" pitchFamily="18" charset="0"/>
                </a:rPr>
                <a:t>Understand the needs, experiences, and challenges of the users</a:t>
              </a:r>
              <a:endParaRPr lang="ko-KR" alt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  <a:cs typeface="Arial" pitchFamily="34" charset="0"/>
              </a:endParaRPr>
            </a:p>
          </p:txBody>
        </p:sp>
      </p:grpSp>
      <p:pic>
        <p:nvPicPr>
          <p:cNvPr id="4" name="Graphic 3" descr="Clipboard Mixed with solid fill">
            <a:extLst>
              <a:ext uri="{FF2B5EF4-FFF2-40B4-BE49-F238E27FC236}">
                <a16:creationId xmlns:a16="http://schemas.microsoft.com/office/drawing/2014/main" id="{F0F972E0-F205-FF6A-4561-E686BB2DF1C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98420" y="1989049"/>
            <a:ext cx="513465" cy="513465"/>
          </a:xfrm>
          <a:prstGeom prst="rect">
            <a:avLst/>
          </a:prstGeom>
        </p:spPr>
      </p:pic>
      <p:pic>
        <p:nvPicPr>
          <p:cNvPr id="9" name="Graphic 8" descr="Teacher with solid fill">
            <a:extLst>
              <a:ext uri="{FF2B5EF4-FFF2-40B4-BE49-F238E27FC236}">
                <a16:creationId xmlns:a16="http://schemas.microsoft.com/office/drawing/2014/main" id="{619DE7DA-9F2F-3370-AB1B-A9B677ACE60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44910" y="4135165"/>
            <a:ext cx="484415" cy="484415"/>
          </a:xfrm>
          <a:prstGeom prst="rect">
            <a:avLst/>
          </a:prstGeom>
        </p:spPr>
      </p:pic>
      <p:pic>
        <p:nvPicPr>
          <p:cNvPr id="11" name="Graphic 10" descr="Angel face with solid fill with solid fill">
            <a:extLst>
              <a:ext uri="{FF2B5EF4-FFF2-40B4-BE49-F238E27FC236}">
                <a16:creationId xmlns:a16="http://schemas.microsoft.com/office/drawing/2014/main" id="{6EF45774-BC09-7429-C5DB-77F3BB35FF4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073945" y="2435115"/>
            <a:ext cx="491877" cy="491877"/>
          </a:xfrm>
          <a:prstGeom prst="rect">
            <a:avLst/>
          </a:prstGeom>
        </p:spPr>
      </p:pic>
      <p:pic>
        <p:nvPicPr>
          <p:cNvPr id="56" name="Graphic 55" descr="Lightbulb and gear with solid fill">
            <a:extLst>
              <a:ext uri="{FF2B5EF4-FFF2-40B4-BE49-F238E27FC236}">
                <a16:creationId xmlns:a16="http://schemas.microsoft.com/office/drawing/2014/main" id="{145943A7-DAFD-4C06-97DF-A27646B9A44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388776" y="5058081"/>
            <a:ext cx="531397" cy="531397"/>
          </a:xfrm>
          <a:prstGeom prst="rect">
            <a:avLst/>
          </a:prstGeom>
        </p:spPr>
      </p:pic>
      <p:pic>
        <p:nvPicPr>
          <p:cNvPr id="58" name="Graphic 57" descr="Normal Distribution with solid fill">
            <a:extLst>
              <a:ext uri="{FF2B5EF4-FFF2-40B4-BE49-F238E27FC236}">
                <a16:creationId xmlns:a16="http://schemas.microsoft.com/office/drawing/2014/main" id="{65C3D505-F710-F794-C1CA-824F2F8F62B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163382" y="3487728"/>
            <a:ext cx="531658" cy="531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7902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30C80-DA25-C64B-BE21-373F35A5E0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lying Design Thinking to Project Management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7B165E-AD56-5E43-AC4D-FA43123819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6FA9D-B403-BA4D-B1B4-BCAA70F90534}" type="datetime3">
              <a:rPr lang="en-US" smtClean="0"/>
              <a:t>23 July 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F0A17F2-52AA-1243-82DE-735B9FC1FB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EMBRACING DESIGN THINKING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AA736B3-902F-AC44-BD0C-4A8AD9E6F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t>5</a:t>
            </a:fld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3A8B981-E964-BAE4-8BEF-C939AB7F3EFB}"/>
              </a:ext>
            </a:extLst>
          </p:cNvPr>
          <p:cNvSpPr txBox="1"/>
          <p:nvPr/>
        </p:nvSpPr>
        <p:spPr>
          <a:xfrm>
            <a:off x="4892856" y="3639950"/>
            <a:ext cx="1061986" cy="646331"/>
          </a:xfrm>
          <a:prstGeom prst="rect">
            <a:avLst/>
          </a:prstGeom>
          <a:noFill/>
        </p:spPr>
        <p:txBody>
          <a:bodyPr wrap="square" lIns="72000" tIns="0" rIns="36000" bIns="0" rtlCol="0">
            <a:spAutoFit/>
          </a:bodyPr>
          <a:lstStyle/>
          <a:p>
            <a:r>
              <a:rPr lang="en-US" altLang="ko-KR" sz="1400" b="1" dirty="0">
                <a:cs typeface="Arial" pitchFamily="34" charset="0"/>
              </a:rPr>
              <a:t>Integration into DT &amp; PM</a:t>
            </a:r>
            <a:endParaRPr lang="ko-KR" altLang="en-US" sz="1400" b="1" dirty="0">
              <a:cs typeface="Arial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43556EE-F6CC-BC77-96A5-FCE38E1C715E}"/>
              </a:ext>
            </a:extLst>
          </p:cNvPr>
          <p:cNvSpPr txBox="1"/>
          <p:nvPr/>
        </p:nvSpPr>
        <p:spPr>
          <a:xfrm>
            <a:off x="6461141" y="3750760"/>
            <a:ext cx="871834" cy="430887"/>
          </a:xfrm>
          <a:prstGeom prst="rect">
            <a:avLst/>
          </a:prstGeom>
          <a:noFill/>
        </p:spPr>
        <p:txBody>
          <a:bodyPr wrap="square" lIns="72000" tIns="0" rIns="36000" bIns="0" rtlCol="0">
            <a:spAutoFit/>
          </a:bodyPr>
          <a:lstStyle/>
          <a:p>
            <a:r>
              <a:rPr lang="en-US" altLang="ko-KR" sz="1400" b="1" dirty="0">
                <a:cs typeface="Arial" pitchFamily="34" charset="0"/>
              </a:rPr>
              <a:t>Case Studies</a:t>
            </a:r>
            <a:endParaRPr lang="ko-KR" altLang="en-US" sz="1400" b="1" dirty="0">
              <a:cs typeface="Arial" pitchFamily="34" charset="0"/>
            </a:endParaRPr>
          </a:p>
        </p:txBody>
      </p:sp>
      <p:grpSp>
        <p:nvGrpSpPr>
          <p:cNvPr id="20" name="Group 31">
            <a:extLst>
              <a:ext uri="{FF2B5EF4-FFF2-40B4-BE49-F238E27FC236}">
                <a16:creationId xmlns:a16="http://schemas.microsoft.com/office/drawing/2014/main" id="{46ADD3F6-CFD6-EAE4-40A2-99C4D98A0C56}"/>
              </a:ext>
            </a:extLst>
          </p:cNvPr>
          <p:cNvGrpSpPr/>
          <p:nvPr/>
        </p:nvGrpSpPr>
        <p:grpSpPr>
          <a:xfrm>
            <a:off x="782111" y="5003867"/>
            <a:ext cx="3123488" cy="926727"/>
            <a:chOff x="575693" y="4067337"/>
            <a:chExt cx="1625933" cy="1083942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15F640B-865A-7C92-F96E-6464E99B399B}"/>
                </a:ext>
              </a:extLst>
            </p:cNvPr>
            <p:cNvSpPr txBox="1"/>
            <p:nvPr/>
          </p:nvSpPr>
          <p:spPr>
            <a:xfrm>
              <a:off x="578400" y="4395301"/>
              <a:ext cx="1617335" cy="7559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Foster a culture of innovation and creativity through ideation sessions, prototyping and feedback.</a:t>
              </a:r>
              <a:endPara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7333F14-C036-5A24-3399-32FAEB67C458}"/>
                </a:ext>
              </a:extLst>
            </p:cNvPr>
            <p:cNvSpPr txBox="1"/>
            <p:nvPr/>
          </p:nvSpPr>
          <p:spPr>
            <a:xfrm>
              <a:off x="575693" y="4067337"/>
              <a:ext cx="1625933" cy="359990"/>
            </a:xfrm>
            <a:prstGeom prst="rect">
              <a:avLst/>
            </a:prstGeom>
            <a:noFill/>
          </p:spPr>
          <p:txBody>
            <a:bodyPr wrap="square" lIns="90000" rIns="108000" rtlCol="0">
              <a:spAutoFit/>
            </a:bodyPr>
            <a:lstStyle/>
            <a:p>
              <a:pPr algn="r"/>
              <a:r>
                <a:rPr lang="en-US" altLang="ko-KR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Problem-solving</a:t>
              </a:r>
              <a:endParaRPr lang="ko-KR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grpSp>
        <p:nvGrpSpPr>
          <p:cNvPr id="23" name="Group 44">
            <a:extLst>
              <a:ext uri="{FF2B5EF4-FFF2-40B4-BE49-F238E27FC236}">
                <a16:creationId xmlns:a16="http://schemas.microsoft.com/office/drawing/2014/main" id="{B7CE7E0F-71BD-1A0C-1B41-678FDC702935}"/>
              </a:ext>
            </a:extLst>
          </p:cNvPr>
          <p:cNvGrpSpPr/>
          <p:nvPr/>
        </p:nvGrpSpPr>
        <p:grpSpPr>
          <a:xfrm>
            <a:off x="782111" y="3499751"/>
            <a:ext cx="3123488" cy="742061"/>
            <a:chOff x="575693" y="4067337"/>
            <a:chExt cx="1625933" cy="867949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ECF0498C-B659-A567-CA29-987A12D91737}"/>
                </a:ext>
              </a:extLst>
            </p:cNvPr>
            <p:cNvSpPr txBox="1"/>
            <p:nvPr/>
          </p:nvSpPr>
          <p:spPr>
            <a:xfrm>
              <a:off x="578400" y="4395301"/>
              <a:ext cx="1617335" cy="5399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Use empathy and user feedback to identify potential risks and develop </a:t>
              </a:r>
              <a:endPara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1811398D-3966-4AD5-5241-57299A755DD3}"/>
                </a:ext>
              </a:extLst>
            </p:cNvPr>
            <p:cNvSpPr txBox="1"/>
            <p:nvPr/>
          </p:nvSpPr>
          <p:spPr>
            <a:xfrm>
              <a:off x="575693" y="4067337"/>
              <a:ext cx="1625933" cy="359990"/>
            </a:xfrm>
            <a:prstGeom prst="rect">
              <a:avLst/>
            </a:prstGeom>
            <a:noFill/>
          </p:spPr>
          <p:txBody>
            <a:bodyPr wrap="square" lIns="90000" rIns="108000" rtlCol="0">
              <a:spAutoFit/>
            </a:bodyPr>
            <a:lstStyle/>
            <a:p>
              <a:pPr algn="r"/>
              <a:r>
                <a:rPr lang="en-US" altLang="ko-KR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Risk Management</a:t>
              </a:r>
              <a:endParaRPr lang="ko-KR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grpSp>
        <p:nvGrpSpPr>
          <p:cNvPr id="26" name="Group 48">
            <a:extLst>
              <a:ext uri="{FF2B5EF4-FFF2-40B4-BE49-F238E27FC236}">
                <a16:creationId xmlns:a16="http://schemas.microsoft.com/office/drawing/2014/main" id="{E28B8E3A-7ED3-1F47-F7CA-48FDF5C96AA3}"/>
              </a:ext>
            </a:extLst>
          </p:cNvPr>
          <p:cNvGrpSpPr/>
          <p:nvPr/>
        </p:nvGrpSpPr>
        <p:grpSpPr>
          <a:xfrm>
            <a:off x="782111" y="1995640"/>
            <a:ext cx="3123488" cy="926727"/>
            <a:chOff x="575693" y="4067337"/>
            <a:chExt cx="1625933" cy="1083942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79A6B14-26A4-0E2E-7B07-7672FD2F852E}"/>
                </a:ext>
              </a:extLst>
            </p:cNvPr>
            <p:cNvSpPr txBox="1"/>
            <p:nvPr/>
          </p:nvSpPr>
          <p:spPr>
            <a:xfrm>
              <a:off x="578400" y="4395301"/>
              <a:ext cx="1617335" cy="7559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Engage stakeholders early and often to understand their needs and expectations.</a:t>
              </a:r>
              <a:b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</a:br>
              <a:endPara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DE0806F2-8104-58C8-1B21-3FD65835DDC0}"/>
                </a:ext>
              </a:extLst>
            </p:cNvPr>
            <p:cNvSpPr txBox="1"/>
            <p:nvPr/>
          </p:nvSpPr>
          <p:spPr>
            <a:xfrm>
              <a:off x="575693" y="4067337"/>
              <a:ext cx="1625933" cy="359990"/>
            </a:xfrm>
            <a:prstGeom prst="rect">
              <a:avLst/>
            </a:prstGeom>
            <a:noFill/>
          </p:spPr>
          <p:txBody>
            <a:bodyPr wrap="square" lIns="90000" rIns="108000" rtlCol="0">
              <a:spAutoFit/>
            </a:bodyPr>
            <a:lstStyle/>
            <a:p>
              <a:pPr algn="r"/>
              <a:r>
                <a:rPr lang="en-US" altLang="ko-KR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Project Planning</a:t>
              </a:r>
              <a:endParaRPr lang="ko-KR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grpSp>
        <p:nvGrpSpPr>
          <p:cNvPr id="29" name="Group 12">
            <a:extLst>
              <a:ext uri="{FF2B5EF4-FFF2-40B4-BE49-F238E27FC236}">
                <a16:creationId xmlns:a16="http://schemas.microsoft.com/office/drawing/2014/main" id="{E07C5E98-A824-8DC6-A616-9E0A75E1873B}"/>
              </a:ext>
            </a:extLst>
          </p:cNvPr>
          <p:cNvGrpSpPr/>
          <p:nvPr/>
        </p:nvGrpSpPr>
        <p:grpSpPr>
          <a:xfrm>
            <a:off x="4706890" y="3432354"/>
            <a:ext cx="1656530" cy="1079111"/>
            <a:chOff x="975964" y="2350490"/>
            <a:chExt cx="3454138" cy="2299893"/>
          </a:xfrm>
          <a:solidFill>
            <a:schemeClr val="accent1"/>
          </a:solidFill>
        </p:grpSpPr>
        <p:sp>
          <p:nvSpPr>
            <p:cNvPr id="30" name="Block Arc 2">
              <a:extLst>
                <a:ext uri="{FF2B5EF4-FFF2-40B4-BE49-F238E27FC236}">
                  <a16:creationId xmlns:a16="http://schemas.microsoft.com/office/drawing/2014/main" id="{894FD2DD-7864-DAB1-C3DD-DD80F935E39B}"/>
                </a:ext>
              </a:extLst>
            </p:cNvPr>
            <p:cNvSpPr/>
            <p:nvPr/>
          </p:nvSpPr>
          <p:spPr>
            <a:xfrm rot="16200000">
              <a:off x="975964" y="2350491"/>
              <a:ext cx="2299892" cy="2299892"/>
            </a:xfrm>
            <a:prstGeom prst="blockArc">
              <a:avLst>
                <a:gd name="adj1" fmla="val 10800000"/>
                <a:gd name="adj2" fmla="val 85088"/>
                <a:gd name="adj3" fmla="val 10946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  <p:sp>
          <p:nvSpPr>
            <p:cNvPr id="31" name="Rectangle 3">
              <a:extLst>
                <a:ext uri="{FF2B5EF4-FFF2-40B4-BE49-F238E27FC236}">
                  <a16:creationId xmlns:a16="http://schemas.microsoft.com/office/drawing/2014/main" id="{D8C4BA65-47CF-4B56-7753-23440C68E0D8}"/>
                </a:ext>
              </a:extLst>
            </p:cNvPr>
            <p:cNvSpPr/>
            <p:nvPr/>
          </p:nvSpPr>
          <p:spPr>
            <a:xfrm>
              <a:off x="2088723" y="2350490"/>
              <a:ext cx="1070154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sp>
          <p:nvSpPr>
            <p:cNvPr id="32" name="Rectangle 11">
              <a:extLst>
                <a:ext uri="{FF2B5EF4-FFF2-40B4-BE49-F238E27FC236}">
                  <a16:creationId xmlns:a16="http://schemas.microsoft.com/office/drawing/2014/main" id="{74D1D495-631F-F5D6-528E-972A2A74E439}"/>
                </a:ext>
              </a:extLst>
            </p:cNvPr>
            <p:cNvSpPr/>
            <p:nvPr/>
          </p:nvSpPr>
          <p:spPr>
            <a:xfrm>
              <a:off x="2069857" y="4398383"/>
              <a:ext cx="1337692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3" name="Block Arc 13">
              <a:extLst>
                <a:ext uri="{FF2B5EF4-FFF2-40B4-BE49-F238E27FC236}">
                  <a16:creationId xmlns:a16="http://schemas.microsoft.com/office/drawing/2014/main" id="{A539093E-6991-33F5-F0DD-601822419EA1}"/>
                </a:ext>
              </a:extLst>
            </p:cNvPr>
            <p:cNvSpPr/>
            <p:nvPr/>
          </p:nvSpPr>
          <p:spPr>
            <a:xfrm rot="5400000" flipH="1">
              <a:off x="3177261" y="2302812"/>
              <a:ext cx="1078511" cy="1173871"/>
            </a:xfrm>
            <a:custGeom>
              <a:avLst/>
              <a:gdLst/>
              <a:ahLst/>
              <a:cxnLst/>
              <a:rect l="l" t="t" r="r" b="b"/>
              <a:pathLst>
                <a:path w="1078511" h="1173870">
                  <a:moveTo>
                    <a:pt x="1078158" y="1173870"/>
                  </a:moveTo>
                  <a:cubicBezTo>
                    <a:pt x="1088410" y="759770"/>
                    <a:pt x="875156" y="372156"/>
                    <a:pt x="519891" y="159151"/>
                  </a:cubicBezTo>
                  <a:cubicBezTo>
                    <a:pt x="359243" y="62832"/>
                    <a:pt x="180784" y="8948"/>
                    <a:pt x="0" y="0"/>
                  </a:cubicBezTo>
                  <a:lnTo>
                    <a:pt x="0" y="251968"/>
                  </a:lnTo>
                  <a:cubicBezTo>
                    <a:pt x="135880" y="260907"/>
                    <a:pt x="269609" y="302617"/>
                    <a:pt x="390438" y="375062"/>
                  </a:cubicBezTo>
                  <a:cubicBezTo>
                    <a:pt x="667928" y="541436"/>
                    <a:pt x="834496" y="844193"/>
                    <a:pt x="826489" y="1167639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dirty="0">
                <a:solidFill>
                  <a:schemeClr val="tx1"/>
                </a:solidFill>
              </a:endParaRPr>
            </a:p>
          </p:txBody>
        </p:sp>
        <p:sp>
          <p:nvSpPr>
            <p:cNvPr id="34" name="Right Triangle 10">
              <a:extLst>
                <a:ext uri="{FF2B5EF4-FFF2-40B4-BE49-F238E27FC236}">
                  <a16:creationId xmlns:a16="http://schemas.microsoft.com/office/drawing/2014/main" id="{278E1142-9406-AADA-879F-F4318BD1D9B9}"/>
                </a:ext>
              </a:extLst>
            </p:cNvPr>
            <p:cNvSpPr/>
            <p:nvPr/>
          </p:nvSpPr>
          <p:spPr>
            <a:xfrm rot="18900000">
              <a:off x="3971844" y="3190724"/>
              <a:ext cx="458258" cy="458258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dirty="0"/>
            </a:p>
          </p:txBody>
        </p:sp>
      </p:grpSp>
      <p:grpSp>
        <p:nvGrpSpPr>
          <p:cNvPr id="35" name="Group 36">
            <a:extLst>
              <a:ext uri="{FF2B5EF4-FFF2-40B4-BE49-F238E27FC236}">
                <a16:creationId xmlns:a16="http://schemas.microsoft.com/office/drawing/2014/main" id="{3B63ACE7-80AF-8901-893D-108D54D67447}"/>
              </a:ext>
            </a:extLst>
          </p:cNvPr>
          <p:cNvGrpSpPr/>
          <p:nvPr/>
        </p:nvGrpSpPr>
        <p:grpSpPr>
          <a:xfrm rot="10800000">
            <a:off x="5821904" y="3432353"/>
            <a:ext cx="1636373" cy="1079111"/>
            <a:chOff x="975964" y="2350490"/>
            <a:chExt cx="3454138" cy="2299893"/>
          </a:xfrm>
          <a:solidFill>
            <a:schemeClr val="accent2"/>
          </a:solidFill>
        </p:grpSpPr>
        <p:sp>
          <p:nvSpPr>
            <p:cNvPr id="36" name="Block Arc 37">
              <a:extLst>
                <a:ext uri="{FF2B5EF4-FFF2-40B4-BE49-F238E27FC236}">
                  <a16:creationId xmlns:a16="http://schemas.microsoft.com/office/drawing/2014/main" id="{2D2C5953-B9E7-E8F8-9929-741028B507DE}"/>
                </a:ext>
              </a:extLst>
            </p:cNvPr>
            <p:cNvSpPr/>
            <p:nvPr/>
          </p:nvSpPr>
          <p:spPr>
            <a:xfrm rot="16200000">
              <a:off x="975964" y="2350491"/>
              <a:ext cx="2299892" cy="2299892"/>
            </a:xfrm>
            <a:prstGeom prst="blockArc">
              <a:avLst>
                <a:gd name="adj1" fmla="val 10800000"/>
                <a:gd name="adj2" fmla="val 85088"/>
                <a:gd name="adj3" fmla="val 10946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  <p:sp>
          <p:nvSpPr>
            <p:cNvPr id="37" name="Rectangle 38">
              <a:extLst>
                <a:ext uri="{FF2B5EF4-FFF2-40B4-BE49-F238E27FC236}">
                  <a16:creationId xmlns:a16="http://schemas.microsoft.com/office/drawing/2014/main" id="{E8E961A0-B4BA-A14D-3C68-3428C0C99799}"/>
                </a:ext>
              </a:extLst>
            </p:cNvPr>
            <p:cNvSpPr/>
            <p:nvPr/>
          </p:nvSpPr>
          <p:spPr>
            <a:xfrm>
              <a:off x="2088723" y="2350490"/>
              <a:ext cx="1070154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8" name="Rectangle 39">
              <a:extLst>
                <a:ext uri="{FF2B5EF4-FFF2-40B4-BE49-F238E27FC236}">
                  <a16:creationId xmlns:a16="http://schemas.microsoft.com/office/drawing/2014/main" id="{E63657BC-F00D-CD07-A3CA-8AF32A06C873}"/>
                </a:ext>
              </a:extLst>
            </p:cNvPr>
            <p:cNvSpPr/>
            <p:nvPr/>
          </p:nvSpPr>
          <p:spPr>
            <a:xfrm>
              <a:off x="2069857" y="4398383"/>
              <a:ext cx="1337692" cy="252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9" name="Block Arc 13">
              <a:extLst>
                <a:ext uri="{FF2B5EF4-FFF2-40B4-BE49-F238E27FC236}">
                  <a16:creationId xmlns:a16="http://schemas.microsoft.com/office/drawing/2014/main" id="{92318C9D-CF4C-508C-7E6E-E0AFDE097E84}"/>
                </a:ext>
              </a:extLst>
            </p:cNvPr>
            <p:cNvSpPr/>
            <p:nvPr/>
          </p:nvSpPr>
          <p:spPr>
            <a:xfrm rot="5400000" flipH="1">
              <a:off x="3196887" y="2302811"/>
              <a:ext cx="1078511" cy="1173870"/>
            </a:xfrm>
            <a:custGeom>
              <a:avLst/>
              <a:gdLst/>
              <a:ahLst/>
              <a:cxnLst/>
              <a:rect l="l" t="t" r="r" b="b"/>
              <a:pathLst>
                <a:path w="1078511" h="1173870">
                  <a:moveTo>
                    <a:pt x="1078158" y="1173870"/>
                  </a:moveTo>
                  <a:cubicBezTo>
                    <a:pt x="1088410" y="759770"/>
                    <a:pt x="875156" y="372156"/>
                    <a:pt x="519891" y="159151"/>
                  </a:cubicBezTo>
                  <a:cubicBezTo>
                    <a:pt x="359243" y="62832"/>
                    <a:pt x="180784" y="8948"/>
                    <a:pt x="0" y="0"/>
                  </a:cubicBezTo>
                  <a:lnTo>
                    <a:pt x="0" y="251968"/>
                  </a:lnTo>
                  <a:cubicBezTo>
                    <a:pt x="135880" y="260907"/>
                    <a:pt x="269609" y="302617"/>
                    <a:pt x="390438" y="375062"/>
                  </a:cubicBezTo>
                  <a:cubicBezTo>
                    <a:pt x="667928" y="541436"/>
                    <a:pt x="834496" y="844193"/>
                    <a:pt x="826489" y="1167639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  <p:sp>
          <p:nvSpPr>
            <p:cNvPr id="40" name="Right Triangle 41">
              <a:extLst>
                <a:ext uri="{FF2B5EF4-FFF2-40B4-BE49-F238E27FC236}">
                  <a16:creationId xmlns:a16="http://schemas.microsoft.com/office/drawing/2014/main" id="{99C3ADFF-5C94-A7B7-DF66-2805CAD80230}"/>
                </a:ext>
              </a:extLst>
            </p:cNvPr>
            <p:cNvSpPr/>
            <p:nvPr/>
          </p:nvSpPr>
          <p:spPr>
            <a:xfrm rot="18900000">
              <a:off x="3971844" y="3183576"/>
              <a:ext cx="458258" cy="458258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/>
            </a:p>
          </p:txBody>
        </p:sp>
      </p:grpSp>
      <p:sp>
        <p:nvSpPr>
          <p:cNvPr id="41" name="Block Arc 43">
            <a:extLst>
              <a:ext uri="{FF2B5EF4-FFF2-40B4-BE49-F238E27FC236}">
                <a16:creationId xmlns:a16="http://schemas.microsoft.com/office/drawing/2014/main" id="{53964DE0-0DCB-BDA6-11C8-974A60764998}"/>
              </a:ext>
            </a:extLst>
          </p:cNvPr>
          <p:cNvSpPr/>
          <p:nvPr/>
        </p:nvSpPr>
        <p:spPr>
          <a:xfrm rot="5400000">
            <a:off x="3435162" y="4915741"/>
            <a:ext cx="1079111" cy="1102978"/>
          </a:xfrm>
          <a:prstGeom prst="blockArc">
            <a:avLst>
              <a:gd name="adj1" fmla="val 10800000"/>
              <a:gd name="adj2" fmla="val 85088"/>
              <a:gd name="adj3" fmla="val 1094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42" name="Block Arc 47">
            <a:extLst>
              <a:ext uri="{FF2B5EF4-FFF2-40B4-BE49-F238E27FC236}">
                <a16:creationId xmlns:a16="http://schemas.microsoft.com/office/drawing/2014/main" id="{42E9E859-5680-F62F-1EDD-65AE3CB1050E}"/>
              </a:ext>
            </a:extLst>
          </p:cNvPr>
          <p:cNvSpPr/>
          <p:nvPr/>
        </p:nvSpPr>
        <p:spPr>
          <a:xfrm rot="5400000">
            <a:off x="3435162" y="3411627"/>
            <a:ext cx="1079111" cy="1102978"/>
          </a:xfrm>
          <a:prstGeom prst="blockArc">
            <a:avLst>
              <a:gd name="adj1" fmla="val 10800000"/>
              <a:gd name="adj2" fmla="val 85088"/>
              <a:gd name="adj3" fmla="val 1094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43" name="Block Arc 51">
            <a:extLst>
              <a:ext uri="{FF2B5EF4-FFF2-40B4-BE49-F238E27FC236}">
                <a16:creationId xmlns:a16="http://schemas.microsoft.com/office/drawing/2014/main" id="{9295115C-F141-8EFE-A643-A4C311C5F31B}"/>
              </a:ext>
            </a:extLst>
          </p:cNvPr>
          <p:cNvSpPr/>
          <p:nvPr/>
        </p:nvSpPr>
        <p:spPr>
          <a:xfrm rot="5400000">
            <a:off x="3435162" y="1907514"/>
            <a:ext cx="1079111" cy="1102978"/>
          </a:xfrm>
          <a:prstGeom prst="blockArc">
            <a:avLst>
              <a:gd name="adj1" fmla="val 10800000"/>
              <a:gd name="adj2" fmla="val 85088"/>
              <a:gd name="adj3" fmla="val 1094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44" name="Block Arc 55">
            <a:extLst>
              <a:ext uri="{FF2B5EF4-FFF2-40B4-BE49-F238E27FC236}">
                <a16:creationId xmlns:a16="http://schemas.microsoft.com/office/drawing/2014/main" id="{B00D1B4C-A6D1-A178-F91B-2712DA7CB382}"/>
              </a:ext>
            </a:extLst>
          </p:cNvPr>
          <p:cNvSpPr/>
          <p:nvPr/>
        </p:nvSpPr>
        <p:spPr>
          <a:xfrm rot="16200000" flipH="1">
            <a:off x="7677726" y="4915741"/>
            <a:ext cx="1079111" cy="1102978"/>
          </a:xfrm>
          <a:prstGeom prst="blockArc">
            <a:avLst>
              <a:gd name="adj1" fmla="val 10800000"/>
              <a:gd name="adj2" fmla="val 85088"/>
              <a:gd name="adj3" fmla="val 1094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45" name="Block Arc 56">
            <a:extLst>
              <a:ext uri="{FF2B5EF4-FFF2-40B4-BE49-F238E27FC236}">
                <a16:creationId xmlns:a16="http://schemas.microsoft.com/office/drawing/2014/main" id="{8E72F687-BC78-B077-9EE2-AC8F3C183AA0}"/>
              </a:ext>
            </a:extLst>
          </p:cNvPr>
          <p:cNvSpPr/>
          <p:nvPr/>
        </p:nvSpPr>
        <p:spPr>
          <a:xfrm rot="16200000" flipH="1">
            <a:off x="7677726" y="3411628"/>
            <a:ext cx="1079111" cy="1102978"/>
          </a:xfrm>
          <a:prstGeom prst="blockArc">
            <a:avLst>
              <a:gd name="adj1" fmla="val 10800000"/>
              <a:gd name="adj2" fmla="val 85088"/>
              <a:gd name="adj3" fmla="val 1094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46" name="Block Arc 57">
            <a:extLst>
              <a:ext uri="{FF2B5EF4-FFF2-40B4-BE49-F238E27FC236}">
                <a16:creationId xmlns:a16="http://schemas.microsoft.com/office/drawing/2014/main" id="{9002744B-AAC9-2A29-BBB7-EF885A0ED5BD}"/>
              </a:ext>
            </a:extLst>
          </p:cNvPr>
          <p:cNvSpPr/>
          <p:nvPr/>
        </p:nvSpPr>
        <p:spPr>
          <a:xfrm rot="16200000" flipH="1">
            <a:off x="7677726" y="1907514"/>
            <a:ext cx="1079111" cy="1102978"/>
          </a:xfrm>
          <a:prstGeom prst="blockArc">
            <a:avLst>
              <a:gd name="adj1" fmla="val 10800000"/>
              <a:gd name="adj2" fmla="val 85088"/>
              <a:gd name="adj3" fmla="val 1094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grpSp>
        <p:nvGrpSpPr>
          <p:cNvPr id="47" name="Group 58">
            <a:extLst>
              <a:ext uri="{FF2B5EF4-FFF2-40B4-BE49-F238E27FC236}">
                <a16:creationId xmlns:a16="http://schemas.microsoft.com/office/drawing/2014/main" id="{C4FBE2A3-3D4B-C499-0882-B9BD17351D2C}"/>
              </a:ext>
            </a:extLst>
          </p:cNvPr>
          <p:cNvGrpSpPr/>
          <p:nvPr/>
        </p:nvGrpSpPr>
        <p:grpSpPr>
          <a:xfrm>
            <a:off x="8296874" y="5003864"/>
            <a:ext cx="3124334" cy="1296059"/>
            <a:chOff x="575693" y="4067337"/>
            <a:chExt cx="1625933" cy="1515931"/>
          </a:xfrm>
        </p:grpSpPr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CE59BFA6-BC1F-EC87-4ACF-0665C3B73D84}"/>
                </a:ext>
              </a:extLst>
            </p:cNvPr>
            <p:cNvSpPr txBox="1"/>
            <p:nvPr/>
          </p:nvSpPr>
          <p:spPr>
            <a:xfrm>
              <a:off x="578400" y="4395301"/>
              <a:ext cx="1617335" cy="11879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A construction project that utilized design thinking to improve delivery, engaging all relevant stakeholders, leading to more efficient delivery, cost saving, and ensured sustainability.</a:t>
              </a:r>
              <a:endPara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40FE1E94-EA4A-7E92-683E-255EA0245CE5}"/>
                </a:ext>
              </a:extLst>
            </p:cNvPr>
            <p:cNvSpPr txBox="1"/>
            <p:nvPr/>
          </p:nvSpPr>
          <p:spPr>
            <a:xfrm>
              <a:off x="575693" y="4067337"/>
              <a:ext cx="1625933" cy="359990"/>
            </a:xfrm>
            <a:prstGeom prst="rect">
              <a:avLst/>
            </a:prstGeom>
            <a:noFill/>
          </p:spPr>
          <p:txBody>
            <a:bodyPr wrap="square" lIns="90000" rIns="108000" rtlCol="0">
              <a:spAutoFit/>
            </a:bodyPr>
            <a:lstStyle/>
            <a:p>
              <a:r>
                <a:rPr lang="en-US" altLang="ko-KR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Case Study 3</a:t>
              </a:r>
              <a:endParaRPr lang="ko-KR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grpSp>
        <p:nvGrpSpPr>
          <p:cNvPr id="50" name="Group 61">
            <a:extLst>
              <a:ext uri="{FF2B5EF4-FFF2-40B4-BE49-F238E27FC236}">
                <a16:creationId xmlns:a16="http://schemas.microsoft.com/office/drawing/2014/main" id="{57856763-0273-5E20-814C-46FC404ACF9F}"/>
              </a:ext>
            </a:extLst>
          </p:cNvPr>
          <p:cNvGrpSpPr/>
          <p:nvPr/>
        </p:nvGrpSpPr>
        <p:grpSpPr>
          <a:xfrm>
            <a:off x="8296874" y="3499753"/>
            <a:ext cx="3124334" cy="926727"/>
            <a:chOff x="575693" y="4067337"/>
            <a:chExt cx="1625933" cy="1083942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7AB5D10C-1423-EA51-0EB7-8AED59329343}"/>
                </a:ext>
              </a:extLst>
            </p:cNvPr>
            <p:cNvSpPr txBox="1"/>
            <p:nvPr/>
          </p:nvSpPr>
          <p:spPr>
            <a:xfrm>
              <a:off x="578400" y="4395301"/>
              <a:ext cx="1617335" cy="7559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An infrastructure project that incorporated community feedback, leading to more inclusive and sustainable outcomes.</a:t>
              </a:r>
              <a:endPara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015645AC-34F6-AB8F-8350-FED78C6241F3}"/>
                </a:ext>
              </a:extLst>
            </p:cNvPr>
            <p:cNvSpPr txBox="1"/>
            <p:nvPr/>
          </p:nvSpPr>
          <p:spPr>
            <a:xfrm>
              <a:off x="575693" y="4067337"/>
              <a:ext cx="1625933" cy="359990"/>
            </a:xfrm>
            <a:prstGeom prst="rect">
              <a:avLst/>
            </a:prstGeom>
            <a:noFill/>
          </p:spPr>
          <p:txBody>
            <a:bodyPr wrap="square" lIns="90000" rIns="108000" rtlCol="0">
              <a:spAutoFit/>
            </a:bodyPr>
            <a:lstStyle/>
            <a:p>
              <a:r>
                <a:rPr lang="en-US" altLang="ko-KR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Case Study 2</a:t>
              </a:r>
              <a:endParaRPr lang="ko-KR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grpSp>
        <p:nvGrpSpPr>
          <p:cNvPr id="53" name="Group 64">
            <a:extLst>
              <a:ext uri="{FF2B5EF4-FFF2-40B4-BE49-F238E27FC236}">
                <a16:creationId xmlns:a16="http://schemas.microsoft.com/office/drawing/2014/main" id="{592DA55F-59E9-4B21-354D-68C3474A16A0}"/>
              </a:ext>
            </a:extLst>
          </p:cNvPr>
          <p:cNvGrpSpPr/>
          <p:nvPr/>
        </p:nvGrpSpPr>
        <p:grpSpPr>
          <a:xfrm>
            <a:off x="8296875" y="1995639"/>
            <a:ext cx="3124334" cy="1203726"/>
            <a:chOff x="575693" y="4067337"/>
            <a:chExt cx="1625933" cy="1407933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E82DD1F0-B78B-63D1-D918-D06FACFA5262}"/>
                </a:ext>
              </a:extLst>
            </p:cNvPr>
            <p:cNvSpPr txBox="1"/>
            <p:nvPr/>
          </p:nvSpPr>
          <p:spPr>
            <a:xfrm>
              <a:off x="578400" y="4395301"/>
              <a:ext cx="1617335" cy="10799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A</a:t>
              </a:r>
              <a:r>
                <a:rPr lang="en-US" sz="1800" dirty="0">
                  <a:effectLst/>
                  <a:latin typeface="Cambria" panose="02040503050406030204" pitchFamily="18" charset="0"/>
                  <a:ea typeface="MS Mincho" panose="02020609040205080304" pitchFamily="49" charset="-128"/>
                  <a:cs typeface="Times New Roman" panose="02020603050405020304" pitchFamily="18" charset="0"/>
                </a:rPr>
                <a:t> </a:t>
              </a:r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software development project that used design thinking to enhance user experience, resulting in increased user satisfaction and retention.</a:t>
              </a:r>
              <a:endPara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07929011-BD3D-45FC-1EE0-982CDA686322}"/>
                </a:ext>
              </a:extLst>
            </p:cNvPr>
            <p:cNvSpPr txBox="1"/>
            <p:nvPr/>
          </p:nvSpPr>
          <p:spPr>
            <a:xfrm>
              <a:off x="575693" y="4067337"/>
              <a:ext cx="1625933" cy="359990"/>
            </a:xfrm>
            <a:prstGeom prst="rect">
              <a:avLst/>
            </a:prstGeom>
            <a:noFill/>
          </p:spPr>
          <p:txBody>
            <a:bodyPr wrap="square" lIns="90000" rIns="108000" rtlCol="0">
              <a:spAutoFit/>
            </a:bodyPr>
            <a:lstStyle/>
            <a:p>
              <a:r>
                <a:rPr lang="en-US" altLang="ko-KR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Case Study 1</a:t>
              </a:r>
              <a:endParaRPr lang="ko-KR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sp>
        <p:nvSpPr>
          <p:cNvPr id="63" name="Text Placeholder 1">
            <a:extLst>
              <a:ext uri="{FF2B5EF4-FFF2-40B4-BE49-F238E27FC236}">
                <a16:creationId xmlns:a16="http://schemas.microsoft.com/office/drawing/2014/main" id="{7BF69ADC-4028-B124-B52C-7AA7F6246787}"/>
              </a:ext>
            </a:extLst>
          </p:cNvPr>
          <p:cNvSpPr txBox="1">
            <a:spLocks/>
          </p:cNvSpPr>
          <p:nvPr/>
        </p:nvSpPr>
        <p:spPr>
          <a:xfrm>
            <a:off x="388070" y="898134"/>
            <a:ext cx="11404600" cy="268816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i="1" kern="1200">
                <a:solidFill>
                  <a:schemeClr val="tx1"/>
                </a:solidFill>
                <a:latin typeface="MTN Brighter Sans Light" panose="00000400000000000000" pitchFamily="50" charset="0"/>
                <a:ea typeface="+mn-ea"/>
                <a:cs typeface="+mn-cs"/>
              </a:defRPr>
            </a:lvl1pPr>
            <a:lvl2pPr marL="322263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3713" indent="-1619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54050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5975" indent="-152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effectLst/>
                <a:latin typeface="Cambria" panose="02040503050406030204" pitchFamily="18" charset="0"/>
                <a:ea typeface="MS Mincho" panose="02020609040205080304" pitchFamily="49" charset="-128"/>
                <a:cs typeface="Times New Roman" panose="02020603050405020304" pitchFamily="18" charset="0"/>
              </a:rPr>
              <a:t>Incorporating design thinking into project management involves shifting from a traditional, linear approach to a more iterative, user-focused methodology.</a:t>
            </a:r>
            <a:endParaRPr lang="en-US" sz="1400" i="0" dirty="0">
              <a:latin typeface="MTN Brighter Sans Light" panose="00000400000000000000" pitchFamily="2" charset="0"/>
            </a:endParaRPr>
          </a:p>
        </p:txBody>
      </p:sp>
      <p:pic>
        <p:nvPicPr>
          <p:cNvPr id="4" name="Graphic 3" descr="Layers Design with solid fill">
            <a:extLst>
              <a:ext uri="{FF2B5EF4-FFF2-40B4-BE49-F238E27FC236}">
                <a16:creationId xmlns:a16="http://schemas.microsoft.com/office/drawing/2014/main" id="{38B5528A-3EA4-32CA-5D98-D10854961D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00175" y="1888567"/>
            <a:ext cx="1095730" cy="1095730"/>
          </a:xfrm>
          <a:prstGeom prst="rect">
            <a:avLst/>
          </a:prstGeom>
        </p:spPr>
      </p:pic>
      <p:pic>
        <p:nvPicPr>
          <p:cNvPr id="6" name="Graphic 5" descr="Closed book with solid fill">
            <a:extLst>
              <a:ext uri="{FF2B5EF4-FFF2-40B4-BE49-F238E27FC236}">
                <a16:creationId xmlns:a16="http://schemas.microsoft.com/office/drawing/2014/main" id="{DAC7AEA8-8F66-6132-D5B5-28A1C0C55BA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43666" y="502672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8299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530C80-DA25-C64B-BE21-373F35A5E0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324" y="302839"/>
            <a:ext cx="11558589" cy="383931"/>
          </a:xfrm>
        </p:spPr>
        <p:txBody>
          <a:bodyPr/>
          <a:lstStyle/>
          <a:p>
            <a:r>
              <a:rPr lang="en-US" dirty="0"/>
              <a:t>The synergy between Design Thinking &amp; Agile and Waterfall Approach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7B165E-AD56-5E43-AC4D-FA43123819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6FA9D-B403-BA4D-B1B4-BCAA70F90534}" type="datetime3">
              <a:rPr lang="en-US" smtClean="0"/>
              <a:t>23 July 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F0A17F2-52AA-1243-82DE-735B9FC1FB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EMBRACING DESIGN THINKING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AA736B3-902F-AC44-BD0C-4A8AD9E6F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t>6</a:t>
            </a:fld>
            <a:endParaRPr lang="en-US"/>
          </a:p>
        </p:txBody>
      </p:sp>
      <p:sp>
        <p:nvSpPr>
          <p:cNvPr id="63" name="Text Placeholder 1">
            <a:extLst>
              <a:ext uri="{FF2B5EF4-FFF2-40B4-BE49-F238E27FC236}">
                <a16:creationId xmlns:a16="http://schemas.microsoft.com/office/drawing/2014/main" id="{7BF69ADC-4028-B124-B52C-7AA7F6246787}"/>
              </a:ext>
            </a:extLst>
          </p:cNvPr>
          <p:cNvSpPr txBox="1">
            <a:spLocks/>
          </p:cNvSpPr>
          <p:nvPr/>
        </p:nvSpPr>
        <p:spPr>
          <a:xfrm>
            <a:off x="388070" y="898133"/>
            <a:ext cx="11404600" cy="63036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i="1" kern="1200">
                <a:solidFill>
                  <a:schemeClr val="tx1"/>
                </a:solidFill>
                <a:latin typeface="MTN Brighter Sans Light" panose="00000400000000000000" pitchFamily="50" charset="0"/>
                <a:ea typeface="+mn-ea"/>
                <a:cs typeface="+mn-cs"/>
              </a:defRPr>
            </a:lvl1pPr>
            <a:lvl2pPr marL="322263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3713" indent="-1619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54050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5975" indent="-152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effectLst/>
                <a:latin typeface="Cambria" panose="02040503050406030204" pitchFamily="18" charset="0"/>
                <a:ea typeface="MS Mincho" panose="02020609040205080304" pitchFamily="49" charset="-128"/>
                <a:cs typeface="Times New Roman" panose="02020603050405020304" pitchFamily="18" charset="0"/>
              </a:rPr>
              <a:t>Design thinking and agile project management are both iterative, user-focused approaches that emphasize flexibility and responsiveness to change. Applying this to waterfall projects requires some adaptation due to the basic differences.</a:t>
            </a:r>
            <a:endParaRPr lang="en-US" sz="1200" i="0" dirty="0">
              <a:latin typeface="MTN Brighter Sans Light" panose="00000400000000000000" pitchFamily="2" charset="0"/>
            </a:endParaRPr>
          </a:p>
        </p:txBody>
      </p:sp>
      <p:grpSp>
        <p:nvGrpSpPr>
          <p:cNvPr id="3" name="그룹 6">
            <a:extLst>
              <a:ext uri="{FF2B5EF4-FFF2-40B4-BE49-F238E27FC236}">
                <a16:creationId xmlns:a16="http://schemas.microsoft.com/office/drawing/2014/main" id="{52AA1196-704B-AD74-87BB-4DA6A249C5EE}"/>
              </a:ext>
            </a:extLst>
          </p:cNvPr>
          <p:cNvGrpSpPr/>
          <p:nvPr/>
        </p:nvGrpSpPr>
        <p:grpSpPr>
          <a:xfrm>
            <a:off x="3529668" y="2933748"/>
            <a:ext cx="1856554" cy="1763310"/>
            <a:chOff x="3432955" y="3105197"/>
            <a:chExt cx="1985378" cy="1885664"/>
          </a:xfrm>
        </p:grpSpPr>
        <p:sp>
          <p:nvSpPr>
            <p:cNvPr id="4" name="Freeform 88">
              <a:extLst>
                <a:ext uri="{FF2B5EF4-FFF2-40B4-BE49-F238E27FC236}">
                  <a16:creationId xmlns:a16="http://schemas.microsoft.com/office/drawing/2014/main" id="{FF6FD905-8D35-A5A2-3EF8-43BFD26588F7}"/>
                </a:ext>
              </a:extLst>
            </p:cNvPr>
            <p:cNvSpPr/>
            <p:nvPr/>
          </p:nvSpPr>
          <p:spPr>
            <a:xfrm rot="15392080">
              <a:off x="3380850" y="3157302"/>
              <a:ext cx="1862705" cy="1758496"/>
            </a:xfrm>
            <a:custGeom>
              <a:avLst/>
              <a:gdLst>
                <a:gd name="connsiteX0" fmla="*/ 1884852 w 3784599"/>
                <a:gd name="connsiteY0" fmla="*/ 1 h 3572874"/>
                <a:gd name="connsiteX1" fmla="*/ 40812 w 3784599"/>
                <a:gd name="connsiteY1" fmla="*/ 3169921 h 3572874"/>
                <a:gd name="connsiteX2" fmla="*/ 3744132 w 3784599"/>
                <a:gd name="connsiteY2" fmla="*/ 3185161 h 3572874"/>
                <a:gd name="connsiteX3" fmla="*/ 1884852 w 3784599"/>
                <a:gd name="connsiteY3" fmla="*/ 1 h 3572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84599" h="3572874">
                  <a:moveTo>
                    <a:pt x="1884852" y="1"/>
                  </a:moveTo>
                  <a:cubicBezTo>
                    <a:pt x="1267632" y="-2539"/>
                    <a:pt x="-269068" y="2639061"/>
                    <a:pt x="40812" y="3169921"/>
                  </a:cubicBezTo>
                  <a:cubicBezTo>
                    <a:pt x="350692" y="3700781"/>
                    <a:pt x="3434252" y="3708401"/>
                    <a:pt x="3744132" y="3185161"/>
                  </a:cubicBezTo>
                  <a:cubicBezTo>
                    <a:pt x="4054012" y="2661921"/>
                    <a:pt x="2502072" y="2541"/>
                    <a:pt x="188485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alpha val="70000"/>
                  </a:schemeClr>
                </a:gs>
                <a:gs pos="100000">
                  <a:schemeClr val="accent1">
                    <a:alpha val="46000"/>
                  </a:schemeClr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100" dirty="0"/>
            </a:p>
          </p:txBody>
        </p:sp>
        <p:sp>
          <p:nvSpPr>
            <p:cNvPr id="5" name="Freeform 89">
              <a:extLst>
                <a:ext uri="{FF2B5EF4-FFF2-40B4-BE49-F238E27FC236}">
                  <a16:creationId xmlns:a16="http://schemas.microsoft.com/office/drawing/2014/main" id="{E6C405B3-41DE-215C-70FC-8385595A27D9}"/>
                </a:ext>
              </a:extLst>
            </p:cNvPr>
            <p:cNvSpPr/>
            <p:nvPr/>
          </p:nvSpPr>
          <p:spPr>
            <a:xfrm rot="12600000">
              <a:off x="3468239" y="3194833"/>
              <a:ext cx="1862704" cy="1758498"/>
            </a:xfrm>
            <a:custGeom>
              <a:avLst/>
              <a:gdLst>
                <a:gd name="connsiteX0" fmla="*/ 1884852 w 3784599"/>
                <a:gd name="connsiteY0" fmla="*/ 1 h 3572874"/>
                <a:gd name="connsiteX1" fmla="*/ 40812 w 3784599"/>
                <a:gd name="connsiteY1" fmla="*/ 3169921 h 3572874"/>
                <a:gd name="connsiteX2" fmla="*/ 3744132 w 3784599"/>
                <a:gd name="connsiteY2" fmla="*/ 3185161 h 3572874"/>
                <a:gd name="connsiteX3" fmla="*/ 1884852 w 3784599"/>
                <a:gd name="connsiteY3" fmla="*/ 1 h 3572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84599" h="3572874">
                  <a:moveTo>
                    <a:pt x="1884852" y="1"/>
                  </a:moveTo>
                  <a:cubicBezTo>
                    <a:pt x="1267632" y="-2539"/>
                    <a:pt x="-269068" y="2639061"/>
                    <a:pt x="40812" y="3169921"/>
                  </a:cubicBezTo>
                  <a:cubicBezTo>
                    <a:pt x="350692" y="3700781"/>
                    <a:pt x="3434252" y="3708401"/>
                    <a:pt x="3744132" y="3185161"/>
                  </a:cubicBezTo>
                  <a:cubicBezTo>
                    <a:pt x="4054012" y="2661921"/>
                    <a:pt x="2502072" y="2541"/>
                    <a:pt x="188485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alpha val="70000"/>
                  </a:schemeClr>
                </a:gs>
                <a:gs pos="100000">
                  <a:schemeClr val="accent1">
                    <a:alpha val="46000"/>
                  </a:schemeClr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100"/>
            </a:p>
          </p:txBody>
        </p:sp>
        <p:sp>
          <p:nvSpPr>
            <p:cNvPr id="6" name="Freeform 90">
              <a:extLst>
                <a:ext uri="{FF2B5EF4-FFF2-40B4-BE49-F238E27FC236}">
                  <a16:creationId xmlns:a16="http://schemas.microsoft.com/office/drawing/2014/main" id="{59AE979D-0015-1A78-1E9F-F4EC3AEBFE3C}"/>
                </a:ext>
              </a:extLst>
            </p:cNvPr>
            <p:cNvSpPr/>
            <p:nvPr/>
          </p:nvSpPr>
          <p:spPr>
            <a:xfrm rot="9900000">
              <a:off x="3555629" y="3232363"/>
              <a:ext cx="1862704" cy="1758498"/>
            </a:xfrm>
            <a:custGeom>
              <a:avLst/>
              <a:gdLst>
                <a:gd name="connsiteX0" fmla="*/ 1884852 w 3784599"/>
                <a:gd name="connsiteY0" fmla="*/ 1 h 3572874"/>
                <a:gd name="connsiteX1" fmla="*/ 40812 w 3784599"/>
                <a:gd name="connsiteY1" fmla="*/ 3169921 h 3572874"/>
                <a:gd name="connsiteX2" fmla="*/ 3744132 w 3784599"/>
                <a:gd name="connsiteY2" fmla="*/ 3185161 h 3572874"/>
                <a:gd name="connsiteX3" fmla="*/ 1884852 w 3784599"/>
                <a:gd name="connsiteY3" fmla="*/ 1 h 3572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84599" h="3572874">
                  <a:moveTo>
                    <a:pt x="1884852" y="1"/>
                  </a:moveTo>
                  <a:cubicBezTo>
                    <a:pt x="1267632" y="-2539"/>
                    <a:pt x="-269068" y="2639061"/>
                    <a:pt x="40812" y="3169921"/>
                  </a:cubicBezTo>
                  <a:cubicBezTo>
                    <a:pt x="350692" y="3700781"/>
                    <a:pt x="3434252" y="3708401"/>
                    <a:pt x="3744132" y="3185161"/>
                  </a:cubicBezTo>
                  <a:cubicBezTo>
                    <a:pt x="4054012" y="2661921"/>
                    <a:pt x="2502072" y="2541"/>
                    <a:pt x="188485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alpha val="70000"/>
                  </a:schemeClr>
                </a:gs>
                <a:gs pos="100000">
                  <a:schemeClr val="accent1">
                    <a:alpha val="46000"/>
                  </a:schemeClr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100"/>
            </a:p>
          </p:txBody>
        </p:sp>
      </p:grpSp>
      <p:grpSp>
        <p:nvGrpSpPr>
          <p:cNvPr id="10" name="그룹 5">
            <a:extLst>
              <a:ext uri="{FF2B5EF4-FFF2-40B4-BE49-F238E27FC236}">
                <a16:creationId xmlns:a16="http://schemas.microsoft.com/office/drawing/2014/main" id="{A7E3DC32-EFC0-3B61-2E09-B1F5868F5440}"/>
              </a:ext>
            </a:extLst>
          </p:cNvPr>
          <p:cNvGrpSpPr/>
          <p:nvPr/>
        </p:nvGrpSpPr>
        <p:grpSpPr>
          <a:xfrm>
            <a:off x="6795432" y="2933748"/>
            <a:ext cx="1856554" cy="1763310"/>
            <a:chOff x="6698719" y="3105197"/>
            <a:chExt cx="1985378" cy="1885664"/>
          </a:xfrm>
        </p:grpSpPr>
        <p:sp>
          <p:nvSpPr>
            <p:cNvPr id="11" name="Freeform 94">
              <a:extLst>
                <a:ext uri="{FF2B5EF4-FFF2-40B4-BE49-F238E27FC236}">
                  <a16:creationId xmlns:a16="http://schemas.microsoft.com/office/drawing/2014/main" id="{B8CEEFCC-04C7-EE77-D8FC-C079652F0688}"/>
                </a:ext>
              </a:extLst>
            </p:cNvPr>
            <p:cNvSpPr/>
            <p:nvPr/>
          </p:nvSpPr>
          <p:spPr>
            <a:xfrm rot="15392080">
              <a:off x="6646614" y="3157302"/>
              <a:ext cx="1862705" cy="1758496"/>
            </a:xfrm>
            <a:custGeom>
              <a:avLst/>
              <a:gdLst>
                <a:gd name="connsiteX0" fmla="*/ 1884852 w 3784599"/>
                <a:gd name="connsiteY0" fmla="*/ 1 h 3572874"/>
                <a:gd name="connsiteX1" fmla="*/ 40812 w 3784599"/>
                <a:gd name="connsiteY1" fmla="*/ 3169921 h 3572874"/>
                <a:gd name="connsiteX2" fmla="*/ 3744132 w 3784599"/>
                <a:gd name="connsiteY2" fmla="*/ 3185161 h 3572874"/>
                <a:gd name="connsiteX3" fmla="*/ 1884852 w 3784599"/>
                <a:gd name="connsiteY3" fmla="*/ 1 h 3572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84599" h="3572874">
                  <a:moveTo>
                    <a:pt x="1884852" y="1"/>
                  </a:moveTo>
                  <a:cubicBezTo>
                    <a:pt x="1267632" y="-2539"/>
                    <a:pt x="-269068" y="2639061"/>
                    <a:pt x="40812" y="3169921"/>
                  </a:cubicBezTo>
                  <a:cubicBezTo>
                    <a:pt x="350692" y="3700781"/>
                    <a:pt x="3434252" y="3708401"/>
                    <a:pt x="3744132" y="3185161"/>
                  </a:cubicBezTo>
                  <a:cubicBezTo>
                    <a:pt x="4054012" y="2661921"/>
                    <a:pt x="2502072" y="2541"/>
                    <a:pt x="188485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alpha val="70000"/>
                  </a:schemeClr>
                </a:gs>
                <a:gs pos="100000">
                  <a:schemeClr val="accent4">
                    <a:alpha val="46000"/>
                  </a:schemeClr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100"/>
            </a:p>
          </p:txBody>
        </p:sp>
        <p:sp>
          <p:nvSpPr>
            <p:cNvPr id="12" name="Freeform 95">
              <a:extLst>
                <a:ext uri="{FF2B5EF4-FFF2-40B4-BE49-F238E27FC236}">
                  <a16:creationId xmlns:a16="http://schemas.microsoft.com/office/drawing/2014/main" id="{3C53A797-4F7B-E055-09C4-4245AFFD80DB}"/>
                </a:ext>
              </a:extLst>
            </p:cNvPr>
            <p:cNvSpPr/>
            <p:nvPr/>
          </p:nvSpPr>
          <p:spPr>
            <a:xfrm rot="12600000">
              <a:off x="6734003" y="3194833"/>
              <a:ext cx="1862704" cy="1758498"/>
            </a:xfrm>
            <a:custGeom>
              <a:avLst/>
              <a:gdLst>
                <a:gd name="connsiteX0" fmla="*/ 1884852 w 3784599"/>
                <a:gd name="connsiteY0" fmla="*/ 1 h 3572874"/>
                <a:gd name="connsiteX1" fmla="*/ 40812 w 3784599"/>
                <a:gd name="connsiteY1" fmla="*/ 3169921 h 3572874"/>
                <a:gd name="connsiteX2" fmla="*/ 3744132 w 3784599"/>
                <a:gd name="connsiteY2" fmla="*/ 3185161 h 3572874"/>
                <a:gd name="connsiteX3" fmla="*/ 1884852 w 3784599"/>
                <a:gd name="connsiteY3" fmla="*/ 1 h 3572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84599" h="3572874">
                  <a:moveTo>
                    <a:pt x="1884852" y="1"/>
                  </a:moveTo>
                  <a:cubicBezTo>
                    <a:pt x="1267632" y="-2539"/>
                    <a:pt x="-269068" y="2639061"/>
                    <a:pt x="40812" y="3169921"/>
                  </a:cubicBezTo>
                  <a:cubicBezTo>
                    <a:pt x="350692" y="3700781"/>
                    <a:pt x="3434252" y="3708401"/>
                    <a:pt x="3744132" y="3185161"/>
                  </a:cubicBezTo>
                  <a:cubicBezTo>
                    <a:pt x="4054012" y="2661921"/>
                    <a:pt x="2502072" y="2541"/>
                    <a:pt x="188485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alpha val="70000"/>
                  </a:schemeClr>
                </a:gs>
                <a:gs pos="100000">
                  <a:schemeClr val="accent4">
                    <a:alpha val="46000"/>
                  </a:schemeClr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100"/>
            </a:p>
          </p:txBody>
        </p:sp>
        <p:sp>
          <p:nvSpPr>
            <p:cNvPr id="13" name="Freeform 96">
              <a:extLst>
                <a:ext uri="{FF2B5EF4-FFF2-40B4-BE49-F238E27FC236}">
                  <a16:creationId xmlns:a16="http://schemas.microsoft.com/office/drawing/2014/main" id="{825F1AEA-A9E3-3936-44BF-C5212A39DB49}"/>
                </a:ext>
              </a:extLst>
            </p:cNvPr>
            <p:cNvSpPr/>
            <p:nvPr/>
          </p:nvSpPr>
          <p:spPr>
            <a:xfrm rot="9900000">
              <a:off x="6821393" y="3232363"/>
              <a:ext cx="1862704" cy="1758498"/>
            </a:xfrm>
            <a:custGeom>
              <a:avLst/>
              <a:gdLst>
                <a:gd name="connsiteX0" fmla="*/ 1884852 w 3784599"/>
                <a:gd name="connsiteY0" fmla="*/ 1 h 3572874"/>
                <a:gd name="connsiteX1" fmla="*/ 40812 w 3784599"/>
                <a:gd name="connsiteY1" fmla="*/ 3169921 h 3572874"/>
                <a:gd name="connsiteX2" fmla="*/ 3744132 w 3784599"/>
                <a:gd name="connsiteY2" fmla="*/ 3185161 h 3572874"/>
                <a:gd name="connsiteX3" fmla="*/ 1884852 w 3784599"/>
                <a:gd name="connsiteY3" fmla="*/ 1 h 3572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84599" h="3572874">
                  <a:moveTo>
                    <a:pt x="1884852" y="1"/>
                  </a:moveTo>
                  <a:cubicBezTo>
                    <a:pt x="1267632" y="-2539"/>
                    <a:pt x="-269068" y="2639061"/>
                    <a:pt x="40812" y="3169921"/>
                  </a:cubicBezTo>
                  <a:cubicBezTo>
                    <a:pt x="350692" y="3700781"/>
                    <a:pt x="3434252" y="3708401"/>
                    <a:pt x="3744132" y="3185161"/>
                  </a:cubicBezTo>
                  <a:cubicBezTo>
                    <a:pt x="4054012" y="2661921"/>
                    <a:pt x="2502072" y="2541"/>
                    <a:pt x="1884852" y="1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4">
                    <a:alpha val="70000"/>
                  </a:schemeClr>
                </a:gs>
                <a:gs pos="100000">
                  <a:schemeClr val="accent4">
                    <a:alpha val="46000"/>
                  </a:schemeClr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10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CBF59A9-0129-DBAE-0EC7-5DD33E6F7A41}"/>
              </a:ext>
            </a:extLst>
          </p:cNvPr>
          <p:cNvGrpSpPr/>
          <p:nvPr/>
        </p:nvGrpSpPr>
        <p:grpSpPr>
          <a:xfrm>
            <a:off x="5524556" y="3493626"/>
            <a:ext cx="1132542" cy="643555"/>
            <a:chOff x="4728830" y="910644"/>
            <a:chExt cx="2388531" cy="1357260"/>
          </a:xfrm>
        </p:grpSpPr>
        <p:sp>
          <p:nvSpPr>
            <p:cNvPr id="15" name="Left-Right Arrow 1">
              <a:extLst>
                <a:ext uri="{FF2B5EF4-FFF2-40B4-BE49-F238E27FC236}">
                  <a16:creationId xmlns:a16="http://schemas.microsoft.com/office/drawing/2014/main" id="{6AED3A71-C172-D736-5F55-D461AB04244A}"/>
                </a:ext>
              </a:extLst>
            </p:cNvPr>
            <p:cNvSpPr/>
            <p:nvPr/>
          </p:nvSpPr>
          <p:spPr>
            <a:xfrm>
              <a:off x="4833072" y="910644"/>
              <a:ext cx="2284289" cy="1357260"/>
            </a:xfrm>
            <a:custGeom>
              <a:avLst/>
              <a:gdLst/>
              <a:ahLst/>
              <a:cxnLst/>
              <a:rect l="l" t="t" r="r" b="b"/>
              <a:pathLst>
                <a:path w="2284289" h="1357260">
                  <a:moveTo>
                    <a:pt x="20525" y="658105"/>
                  </a:moveTo>
                  <a:lnTo>
                    <a:pt x="11850" y="690480"/>
                  </a:lnTo>
                  <a:lnTo>
                    <a:pt x="0" y="678630"/>
                  </a:lnTo>
                  <a:close/>
                  <a:moveTo>
                    <a:pt x="1605659" y="0"/>
                  </a:moveTo>
                  <a:lnTo>
                    <a:pt x="2284289" y="678630"/>
                  </a:lnTo>
                  <a:lnTo>
                    <a:pt x="1605659" y="1357260"/>
                  </a:lnTo>
                  <a:lnTo>
                    <a:pt x="1605659" y="1017945"/>
                  </a:lnTo>
                  <a:lnTo>
                    <a:pt x="1305184" y="1017945"/>
                  </a:lnTo>
                  <a:lnTo>
                    <a:pt x="913377" y="339315"/>
                  </a:lnTo>
                  <a:lnTo>
                    <a:pt x="1605659" y="33931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100" dirty="0"/>
            </a:p>
          </p:txBody>
        </p:sp>
        <p:sp>
          <p:nvSpPr>
            <p:cNvPr id="16" name="Left-Right Arrow 26">
              <a:extLst>
                <a:ext uri="{FF2B5EF4-FFF2-40B4-BE49-F238E27FC236}">
                  <a16:creationId xmlns:a16="http://schemas.microsoft.com/office/drawing/2014/main" id="{9D43549D-1A46-C142-147B-44021EB620BA}"/>
                </a:ext>
              </a:extLst>
            </p:cNvPr>
            <p:cNvSpPr/>
            <p:nvPr/>
          </p:nvSpPr>
          <p:spPr>
            <a:xfrm>
              <a:off x="4728830" y="910644"/>
              <a:ext cx="1302347" cy="1357260"/>
            </a:xfrm>
            <a:custGeom>
              <a:avLst/>
              <a:gdLst/>
              <a:ahLst/>
              <a:cxnLst/>
              <a:rect l="l" t="t" r="r" b="b"/>
              <a:pathLst>
                <a:path w="1302347" h="1357260">
                  <a:moveTo>
                    <a:pt x="678630" y="0"/>
                  </a:moveTo>
                  <a:lnTo>
                    <a:pt x="678630" y="339315"/>
                  </a:lnTo>
                  <a:lnTo>
                    <a:pt x="910540" y="339315"/>
                  </a:lnTo>
                  <a:lnTo>
                    <a:pt x="1302347" y="1017945"/>
                  </a:lnTo>
                  <a:lnTo>
                    <a:pt x="678630" y="1017945"/>
                  </a:lnTo>
                  <a:lnTo>
                    <a:pt x="678630" y="1357260"/>
                  </a:lnTo>
                  <a:lnTo>
                    <a:pt x="0" y="67863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100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9A4D3B8-7260-7419-6565-F41C9F58367E}"/>
              </a:ext>
            </a:extLst>
          </p:cNvPr>
          <p:cNvGrpSpPr/>
          <p:nvPr/>
        </p:nvGrpSpPr>
        <p:grpSpPr>
          <a:xfrm>
            <a:off x="3051222" y="2332415"/>
            <a:ext cx="970926" cy="2844363"/>
            <a:chOff x="1712420" y="2600575"/>
            <a:chExt cx="866746" cy="2539163"/>
          </a:xfrm>
          <a:solidFill>
            <a:srgbClr val="F5679D"/>
          </a:solidFill>
        </p:grpSpPr>
        <p:sp>
          <p:nvSpPr>
            <p:cNvPr id="64" name="Up Arrow 48">
              <a:extLst>
                <a:ext uri="{FF2B5EF4-FFF2-40B4-BE49-F238E27FC236}">
                  <a16:creationId xmlns:a16="http://schemas.microsoft.com/office/drawing/2014/main" id="{E08B27D7-8454-8CAC-8181-0D57412A29BF}"/>
                </a:ext>
              </a:extLst>
            </p:cNvPr>
            <p:cNvSpPr/>
            <p:nvPr/>
          </p:nvSpPr>
          <p:spPr>
            <a:xfrm rot="19800000">
              <a:off x="2217156" y="2600575"/>
              <a:ext cx="362010" cy="391040"/>
            </a:xfrm>
            <a:prstGeom prst="up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100"/>
            </a:p>
          </p:txBody>
        </p:sp>
        <p:sp>
          <p:nvSpPr>
            <p:cNvPr id="65" name="Up Arrow 49">
              <a:extLst>
                <a:ext uri="{FF2B5EF4-FFF2-40B4-BE49-F238E27FC236}">
                  <a16:creationId xmlns:a16="http://schemas.microsoft.com/office/drawing/2014/main" id="{576AE6A3-0B2D-B12C-A005-B3540AFE6BF7}"/>
                </a:ext>
              </a:extLst>
            </p:cNvPr>
            <p:cNvSpPr/>
            <p:nvPr/>
          </p:nvSpPr>
          <p:spPr>
            <a:xfrm rot="16800000">
              <a:off x="1726935" y="3230208"/>
              <a:ext cx="362010" cy="391040"/>
            </a:xfrm>
            <a:prstGeom prst="up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100"/>
            </a:p>
          </p:txBody>
        </p:sp>
        <p:sp>
          <p:nvSpPr>
            <p:cNvPr id="66" name="Up Arrow 50">
              <a:extLst>
                <a:ext uri="{FF2B5EF4-FFF2-40B4-BE49-F238E27FC236}">
                  <a16:creationId xmlns:a16="http://schemas.microsoft.com/office/drawing/2014/main" id="{CB426E17-57D0-A301-C3D8-FDE1ABEE3DEE}"/>
                </a:ext>
              </a:extLst>
            </p:cNvPr>
            <p:cNvSpPr/>
            <p:nvPr/>
          </p:nvSpPr>
          <p:spPr>
            <a:xfrm rot="1800000" flipV="1">
              <a:off x="2217156" y="4748698"/>
              <a:ext cx="362010" cy="391040"/>
            </a:xfrm>
            <a:prstGeom prst="up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100"/>
            </a:p>
          </p:txBody>
        </p:sp>
        <p:sp>
          <p:nvSpPr>
            <p:cNvPr id="67" name="Up Arrow 51">
              <a:extLst>
                <a:ext uri="{FF2B5EF4-FFF2-40B4-BE49-F238E27FC236}">
                  <a16:creationId xmlns:a16="http://schemas.microsoft.com/office/drawing/2014/main" id="{B44665C8-8D0C-3CA7-CA22-F5752F3D6F1A}"/>
                </a:ext>
              </a:extLst>
            </p:cNvPr>
            <p:cNvSpPr/>
            <p:nvPr/>
          </p:nvSpPr>
          <p:spPr>
            <a:xfrm rot="4800000" flipV="1">
              <a:off x="1726935" y="4119065"/>
              <a:ext cx="362010" cy="391040"/>
            </a:xfrm>
            <a:prstGeom prst="up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100"/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1072897A-AB40-C21E-F72C-A2B54D2B293A}"/>
              </a:ext>
            </a:extLst>
          </p:cNvPr>
          <p:cNvGrpSpPr/>
          <p:nvPr/>
        </p:nvGrpSpPr>
        <p:grpSpPr>
          <a:xfrm flipH="1">
            <a:off x="8161062" y="2332415"/>
            <a:ext cx="970926" cy="2844363"/>
            <a:chOff x="1712420" y="2600575"/>
            <a:chExt cx="866746" cy="2539163"/>
          </a:xfrm>
          <a:solidFill>
            <a:schemeClr val="accent4"/>
          </a:solidFill>
        </p:grpSpPr>
        <p:sp>
          <p:nvSpPr>
            <p:cNvPr id="69" name="Up Arrow 53">
              <a:extLst>
                <a:ext uri="{FF2B5EF4-FFF2-40B4-BE49-F238E27FC236}">
                  <a16:creationId xmlns:a16="http://schemas.microsoft.com/office/drawing/2014/main" id="{3E8434AA-B589-418B-5045-B841D98EDA85}"/>
                </a:ext>
              </a:extLst>
            </p:cNvPr>
            <p:cNvSpPr/>
            <p:nvPr/>
          </p:nvSpPr>
          <p:spPr>
            <a:xfrm rot="19800000">
              <a:off x="2217156" y="2600575"/>
              <a:ext cx="362010" cy="391040"/>
            </a:xfrm>
            <a:prstGeom prst="up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100" dirty="0"/>
            </a:p>
          </p:txBody>
        </p:sp>
        <p:sp>
          <p:nvSpPr>
            <p:cNvPr id="70" name="Up Arrow 54">
              <a:extLst>
                <a:ext uri="{FF2B5EF4-FFF2-40B4-BE49-F238E27FC236}">
                  <a16:creationId xmlns:a16="http://schemas.microsoft.com/office/drawing/2014/main" id="{74D83D3A-260E-9991-4BC5-76EECCDEF0FD}"/>
                </a:ext>
              </a:extLst>
            </p:cNvPr>
            <p:cNvSpPr/>
            <p:nvPr/>
          </p:nvSpPr>
          <p:spPr>
            <a:xfrm rot="16800000">
              <a:off x="1726935" y="3230208"/>
              <a:ext cx="362010" cy="391040"/>
            </a:xfrm>
            <a:prstGeom prst="up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100"/>
            </a:p>
          </p:txBody>
        </p:sp>
        <p:sp>
          <p:nvSpPr>
            <p:cNvPr id="71" name="Up Arrow 55">
              <a:extLst>
                <a:ext uri="{FF2B5EF4-FFF2-40B4-BE49-F238E27FC236}">
                  <a16:creationId xmlns:a16="http://schemas.microsoft.com/office/drawing/2014/main" id="{42A3F5D3-CC50-8BD5-9DD1-DD3C76357585}"/>
                </a:ext>
              </a:extLst>
            </p:cNvPr>
            <p:cNvSpPr/>
            <p:nvPr/>
          </p:nvSpPr>
          <p:spPr>
            <a:xfrm rot="1800000" flipV="1">
              <a:off x="2217156" y="4748698"/>
              <a:ext cx="362010" cy="391040"/>
            </a:xfrm>
            <a:prstGeom prst="up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100"/>
            </a:p>
          </p:txBody>
        </p:sp>
        <p:sp>
          <p:nvSpPr>
            <p:cNvPr id="72" name="Up Arrow 56">
              <a:extLst>
                <a:ext uri="{FF2B5EF4-FFF2-40B4-BE49-F238E27FC236}">
                  <a16:creationId xmlns:a16="http://schemas.microsoft.com/office/drawing/2014/main" id="{3631F3F7-BCC8-0B01-1BEF-913016A964CD}"/>
                </a:ext>
              </a:extLst>
            </p:cNvPr>
            <p:cNvSpPr/>
            <p:nvPr/>
          </p:nvSpPr>
          <p:spPr>
            <a:xfrm rot="4800000" flipV="1">
              <a:off x="1726935" y="4119065"/>
              <a:ext cx="362010" cy="391040"/>
            </a:xfrm>
            <a:prstGeom prst="up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1100"/>
            </a:p>
          </p:txBody>
        </p:sp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id="{2948E478-4172-23BC-1D92-8E55ABE2C4BB}"/>
              </a:ext>
            </a:extLst>
          </p:cNvPr>
          <p:cNvSpPr txBox="1"/>
          <p:nvPr/>
        </p:nvSpPr>
        <p:spPr>
          <a:xfrm>
            <a:off x="3711290" y="3525495"/>
            <a:ext cx="16080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>
                <a:cs typeface="Arial" pitchFamily="34" charset="0"/>
              </a:rPr>
              <a:t>The Waterfall Approach</a:t>
            </a:r>
            <a:endParaRPr lang="ko-KR" altLang="en-US" sz="1200" b="1" dirty="0">
              <a:cs typeface="Arial" pitchFamily="34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5C613D51-2C88-3C63-5057-3EEAD94CCB29}"/>
              </a:ext>
            </a:extLst>
          </p:cNvPr>
          <p:cNvSpPr txBox="1"/>
          <p:nvPr/>
        </p:nvSpPr>
        <p:spPr>
          <a:xfrm>
            <a:off x="6966009" y="3426988"/>
            <a:ext cx="16080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>
                <a:solidFill>
                  <a:schemeClr val="bg1"/>
                </a:solidFill>
                <a:cs typeface="Arial" pitchFamily="34" charset="0"/>
              </a:rPr>
              <a:t>The Agile Approach</a:t>
            </a:r>
            <a:endParaRPr lang="ko-KR" altLang="en-US" sz="12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0DF15ABA-B0FE-4B49-CCE4-22BCB1D0DA72}"/>
              </a:ext>
            </a:extLst>
          </p:cNvPr>
          <p:cNvSpPr txBox="1"/>
          <p:nvPr/>
        </p:nvSpPr>
        <p:spPr>
          <a:xfrm>
            <a:off x="8210345" y="1793932"/>
            <a:ext cx="366256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User-centric approach 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- Both design thinking and agile methodologies prioritize the needs and feedback of users through empathy and research.</a:t>
            </a:r>
            <a:endParaRPr lang="en-US" altLang="ko-KR" sz="1100" dirty="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761E814D-EDED-3CCE-FCE8-530EFDFD21EF}"/>
              </a:ext>
            </a:extLst>
          </p:cNvPr>
          <p:cNvSpPr txBox="1"/>
          <p:nvPr/>
        </p:nvSpPr>
        <p:spPr>
          <a:xfrm>
            <a:off x="8210345" y="5439547"/>
            <a:ext cx="366256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Rapid Prototyping &amp; Testing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:  frequent releases and testing within sprints to ensure that the product evolves in alignment with user needs</a:t>
            </a:r>
            <a:endParaRPr lang="en-US" altLang="ko-KR" sz="1100" dirty="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F921B73B-B42B-4847-E5DE-861E32C49B74}"/>
              </a:ext>
            </a:extLst>
          </p:cNvPr>
          <p:cNvSpPr txBox="1"/>
          <p:nvPr/>
        </p:nvSpPr>
        <p:spPr>
          <a:xfrm>
            <a:off x="9192342" y="2829331"/>
            <a:ext cx="2234658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terative Process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: Both approaches involve stages like ideation, prototyping, and testing to continuously improve products based on user feedback.</a:t>
            </a:r>
            <a:endParaRPr lang="en-US" altLang="ko-KR" sz="1100" dirty="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9B946862-3E0D-28C6-29CA-CDFB665E3601}"/>
              </a:ext>
            </a:extLst>
          </p:cNvPr>
          <p:cNvSpPr txBox="1"/>
          <p:nvPr/>
        </p:nvSpPr>
        <p:spPr>
          <a:xfrm>
            <a:off x="9192341" y="4048551"/>
            <a:ext cx="2823195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ollaboration &amp; Cross-functional teams: 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Both approaches encourage collaboration among diverse stakeholders to generate innovative solutions in a place where creativity and efficiency thrive.</a:t>
            </a:r>
            <a:endParaRPr lang="en-US" altLang="ko-KR" sz="1100" dirty="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E7155C85-B73D-6C06-77A0-C9A5D19CF308}"/>
              </a:ext>
            </a:extLst>
          </p:cNvPr>
          <p:cNvSpPr txBox="1"/>
          <p:nvPr/>
        </p:nvSpPr>
        <p:spPr>
          <a:xfrm>
            <a:off x="176464" y="1793931"/>
            <a:ext cx="378695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ko-KR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ront-loading the empathy phase:</a:t>
            </a:r>
            <a:r>
              <a:rPr lang="en-US" altLang="ko-KR" sz="11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. This will inform the project requirements and design specifications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DF45A103-6798-4310-63DF-22086A31FCE4}"/>
              </a:ext>
            </a:extLst>
          </p:cNvPr>
          <p:cNvSpPr txBox="1"/>
          <p:nvPr/>
        </p:nvSpPr>
        <p:spPr>
          <a:xfrm>
            <a:off x="314324" y="5305893"/>
            <a:ext cx="357534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lexible Documentation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: Maintain flexibility in these documents to accommodate insights gained from design thinking activities</a:t>
            </a:r>
            <a:endParaRPr lang="en-US" altLang="ko-KR" sz="1100" dirty="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D06EFCDF-1AAC-50C9-EDBF-F93F34D51606}"/>
              </a:ext>
            </a:extLst>
          </p:cNvPr>
          <p:cNvSpPr txBox="1"/>
          <p:nvPr/>
        </p:nvSpPr>
        <p:spPr>
          <a:xfrm>
            <a:off x="314324" y="2861952"/>
            <a:ext cx="2703403" cy="6597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terative designs within phases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: To ensure that the designs are user-centric before moving on to development.</a:t>
            </a:r>
            <a:endParaRPr lang="en-GB" sz="1100" dirty="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6C7386C1-F061-67C3-2385-ED62A21D5D39}"/>
              </a:ext>
            </a:extLst>
          </p:cNvPr>
          <p:cNvSpPr txBox="1"/>
          <p:nvPr/>
        </p:nvSpPr>
        <p:spPr>
          <a:xfrm>
            <a:off x="176463" y="4143062"/>
            <a:ext cx="284126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corporate Feedback Loops: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Use this feedback to make necessary adjustments before proceeding to development.</a:t>
            </a:r>
            <a:endParaRPr lang="en-US" altLang="ko-KR" sz="1100" dirty="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0619C6AC-8809-F74D-C430-D94B057C7871}"/>
              </a:ext>
            </a:extLst>
          </p:cNvPr>
          <p:cNvSpPr txBox="1"/>
          <p:nvPr/>
        </p:nvSpPr>
        <p:spPr>
          <a:xfrm>
            <a:off x="5288235" y="2418884"/>
            <a:ext cx="16080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Design Thinking</a:t>
            </a:r>
            <a:endParaRPr lang="ko-KR" altLang="en-US" sz="1200" b="1" dirty="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91981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903DF1-98E4-7943-9E91-F0FC396A80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25840" y="0"/>
            <a:ext cx="3561398" cy="6858000"/>
          </a:xfrm>
          <a:solidFill>
            <a:srgbClr val="171717"/>
          </a:solidFill>
        </p:spPr>
        <p:txBody>
          <a:bodyPr tIns="252000"/>
          <a:lstStyle/>
          <a:p>
            <a:r>
              <a:rPr lang="en-US" sz="2400" dirty="0"/>
              <a:t>Research &amp; Stats</a:t>
            </a:r>
          </a:p>
          <a:p>
            <a:pPr marL="285750" lvl="1" indent="-285750">
              <a:lnSpc>
                <a:spcPct val="150000"/>
              </a:lnSpc>
              <a:buClr>
                <a:schemeClr val="bg1"/>
              </a:buClr>
              <a:buFont typeface="Wingdings" panose="05000000000000000000" pitchFamily="2" charset="2"/>
              <a:buChar char="v"/>
            </a:pPr>
            <a:r>
              <a:rPr lang="en-GB" sz="1400" i="1" dirty="0">
                <a:latin typeface="Cambria" panose="02040503050406030204" pitchFamily="18" charset="0"/>
                <a:ea typeface="MS Mincho" panose="02020609040205080304" pitchFamily="49" charset="-128"/>
                <a:cs typeface="Times New Roman" panose="02020603050405020304" pitchFamily="18" charset="0"/>
              </a:rPr>
              <a:t>A study by Forrester Research found that companies using design thinking outperformed their peers by 228% on the S&amp;P 500 over a 10-year period.</a:t>
            </a:r>
          </a:p>
          <a:p>
            <a:pPr marL="285750" lvl="1" indent="-285750">
              <a:lnSpc>
                <a:spcPct val="150000"/>
              </a:lnSpc>
              <a:buClr>
                <a:schemeClr val="bg1"/>
              </a:buClr>
              <a:buFont typeface="Wingdings" panose="05000000000000000000" pitchFamily="2" charset="2"/>
              <a:buChar char="v"/>
            </a:pPr>
            <a:r>
              <a:rPr lang="en-GB" sz="1400" i="1" dirty="0">
                <a:latin typeface="Cambria" panose="02040503050406030204" pitchFamily="18" charset="0"/>
                <a:ea typeface="MS Mincho" panose="02020609040205080304" pitchFamily="49" charset="-128"/>
                <a:cs typeface="Times New Roman" panose="02020603050405020304" pitchFamily="18" charset="0"/>
              </a:rPr>
              <a:t>An IBM study revealed that teams using design thinking were 2 times as likely to launch products faster and deliver a 300% return on investment</a:t>
            </a:r>
          </a:p>
          <a:p>
            <a:pPr marL="285750" lvl="1" indent="-285750">
              <a:lnSpc>
                <a:spcPct val="150000"/>
              </a:lnSpc>
              <a:buClr>
                <a:schemeClr val="bg1"/>
              </a:buClr>
              <a:buFont typeface="Wingdings" panose="05000000000000000000" pitchFamily="2" charset="2"/>
              <a:buChar char="v"/>
            </a:pPr>
            <a:r>
              <a:rPr lang="en-GB" sz="1400" i="1" dirty="0">
                <a:latin typeface="Cambria" panose="02040503050406030204" pitchFamily="18" charset="0"/>
                <a:ea typeface="MS Mincho" panose="02020609040205080304" pitchFamily="49" charset="-128"/>
                <a:cs typeface="Times New Roman" panose="02020603050405020304" pitchFamily="18" charset="0"/>
              </a:rPr>
              <a:t>The "State of Design Thinking" report by the Nielsen Norman Group noted that 71% of organizations using design thinking reported improved work culture and team collaboration.</a:t>
            </a:r>
            <a:endParaRPr lang="en-US" sz="1400" i="1" dirty="0">
              <a:latin typeface="Cambria" panose="02040503050406030204" pitchFamily="18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F9DB19B-6D4C-084D-A2A3-169ED1D186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nefits of Design Thinking in Project Mg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E31C1D-DC4E-7643-A264-BC95830A23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43986-7BF2-0746-AD8B-D1EB6734F17D}" type="datetime3">
              <a:rPr lang="en-US" smtClean="0"/>
              <a:t>23 July 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2A4156D-E726-F847-9DDB-F59B6EF873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151562" y="6275767"/>
            <a:ext cx="2795587" cy="19881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EMBRACING DESIGN THINKING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836CE3-2EB6-7F47-B775-EC5DEF3195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10" name="Rounded Rectangle 2">
            <a:extLst>
              <a:ext uri="{FF2B5EF4-FFF2-40B4-BE49-F238E27FC236}">
                <a16:creationId xmlns:a16="http://schemas.microsoft.com/office/drawing/2014/main" id="{205804EA-7EEA-FEC8-00D2-F59F5CE335E2}"/>
              </a:ext>
            </a:extLst>
          </p:cNvPr>
          <p:cNvSpPr/>
          <p:nvPr/>
        </p:nvSpPr>
        <p:spPr>
          <a:xfrm>
            <a:off x="206146" y="2030342"/>
            <a:ext cx="3557017" cy="1835948"/>
          </a:xfrm>
          <a:prstGeom prst="roundRect">
            <a:avLst>
              <a:gd name="adj" fmla="val 10715"/>
            </a:avLst>
          </a:prstGeom>
          <a:solidFill>
            <a:srgbClr val="FFFFFF"/>
          </a:solidFill>
          <a:ln w="381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1" name="Rounded Rectangle 3">
            <a:extLst>
              <a:ext uri="{FF2B5EF4-FFF2-40B4-BE49-F238E27FC236}">
                <a16:creationId xmlns:a16="http://schemas.microsoft.com/office/drawing/2014/main" id="{1FEEA482-B1F6-5519-1B82-95522D8C066E}"/>
              </a:ext>
            </a:extLst>
          </p:cNvPr>
          <p:cNvSpPr/>
          <p:nvPr/>
        </p:nvSpPr>
        <p:spPr>
          <a:xfrm>
            <a:off x="4850526" y="2030342"/>
            <a:ext cx="3557017" cy="1835948"/>
          </a:xfrm>
          <a:prstGeom prst="roundRect">
            <a:avLst>
              <a:gd name="adj" fmla="val 10715"/>
            </a:avLst>
          </a:prstGeom>
          <a:solidFill>
            <a:srgbClr val="FFFFFF"/>
          </a:solidFill>
          <a:ln w="38100" cap="flat" cmpd="sng" algn="ctr">
            <a:solidFill>
              <a:srgbClr val="FFCB0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2" name="Rounded Rectangle 4">
            <a:extLst>
              <a:ext uri="{FF2B5EF4-FFF2-40B4-BE49-F238E27FC236}">
                <a16:creationId xmlns:a16="http://schemas.microsoft.com/office/drawing/2014/main" id="{5E27CB7F-DB41-FC4F-4152-BC1A7E661FC2}"/>
              </a:ext>
            </a:extLst>
          </p:cNvPr>
          <p:cNvSpPr/>
          <p:nvPr/>
        </p:nvSpPr>
        <p:spPr>
          <a:xfrm>
            <a:off x="4895009" y="4178080"/>
            <a:ext cx="3512534" cy="1835948"/>
          </a:xfrm>
          <a:prstGeom prst="roundRect">
            <a:avLst>
              <a:gd name="adj" fmla="val 10715"/>
            </a:avLst>
          </a:prstGeom>
          <a:solidFill>
            <a:srgbClr val="FFFFFF"/>
          </a:solidFill>
          <a:ln w="38100" cap="flat" cmpd="sng" algn="ctr">
            <a:solidFill>
              <a:srgbClr val="666666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3" name="Rounded Rectangle 5">
            <a:extLst>
              <a:ext uri="{FF2B5EF4-FFF2-40B4-BE49-F238E27FC236}">
                <a16:creationId xmlns:a16="http://schemas.microsoft.com/office/drawing/2014/main" id="{33702719-D1E3-59FA-617E-7453EB269F6E}"/>
              </a:ext>
            </a:extLst>
          </p:cNvPr>
          <p:cNvSpPr/>
          <p:nvPr/>
        </p:nvSpPr>
        <p:spPr>
          <a:xfrm>
            <a:off x="218817" y="4297157"/>
            <a:ext cx="3544345" cy="1835948"/>
          </a:xfrm>
          <a:prstGeom prst="roundRect">
            <a:avLst>
              <a:gd name="adj" fmla="val 10715"/>
            </a:avLst>
          </a:prstGeom>
          <a:solidFill>
            <a:srgbClr val="FFFFFF"/>
          </a:solidFill>
          <a:ln w="38100" cap="flat" cmpd="sng" algn="ctr">
            <a:solidFill>
              <a:srgbClr val="FFCB05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BFED80F-9929-E8C0-5AD4-956800CE61EC}"/>
              </a:ext>
            </a:extLst>
          </p:cNvPr>
          <p:cNvGrpSpPr/>
          <p:nvPr/>
        </p:nvGrpSpPr>
        <p:grpSpPr>
          <a:xfrm>
            <a:off x="3316740" y="3056993"/>
            <a:ext cx="1932544" cy="1944464"/>
            <a:chOff x="3601392" y="2821184"/>
            <a:chExt cx="1932544" cy="1944464"/>
          </a:xfrm>
        </p:grpSpPr>
        <p:sp>
          <p:nvSpPr>
            <p:cNvPr id="15" name="Pie 7">
              <a:extLst>
                <a:ext uri="{FF2B5EF4-FFF2-40B4-BE49-F238E27FC236}">
                  <a16:creationId xmlns:a16="http://schemas.microsoft.com/office/drawing/2014/main" id="{833099E7-A63B-1DA4-65B3-0253498469E5}"/>
                </a:ext>
              </a:extLst>
            </p:cNvPr>
            <p:cNvSpPr/>
            <p:nvPr/>
          </p:nvSpPr>
          <p:spPr>
            <a:xfrm>
              <a:off x="3601392" y="2821184"/>
              <a:ext cx="1872208" cy="1872208"/>
            </a:xfrm>
            <a:prstGeom prst="pie">
              <a:avLst>
                <a:gd name="adj1" fmla="val 10832722"/>
                <a:gd name="adj2" fmla="val 16200000"/>
              </a:avLst>
            </a:prstGeom>
            <a:solidFill>
              <a:srgbClr val="00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6" name="Pie 8">
              <a:extLst>
                <a:ext uri="{FF2B5EF4-FFF2-40B4-BE49-F238E27FC236}">
                  <a16:creationId xmlns:a16="http://schemas.microsoft.com/office/drawing/2014/main" id="{8CDCF133-8E07-53EB-2527-DB0CF0A9977E}"/>
                </a:ext>
              </a:extLst>
            </p:cNvPr>
            <p:cNvSpPr/>
            <p:nvPr/>
          </p:nvSpPr>
          <p:spPr>
            <a:xfrm rot="16200000">
              <a:off x="3601392" y="2893440"/>
              <a:ext cx="1872208" cy="1872208"/>
            </a:xfrm>
            <a:prstGeom prst="pie">
              <a:avLst>
                <a:gd name="adj1" fmla="val 10832722"/>
                <a:gd name="adj2" fmla="val 16200000"/>
              </a:avLst>
            </a:prstGeom>
            <a:solidFill>
              <a:srgbClr val="FFCB05">
                <a:lumMod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7" name="Pie 9">
              <a:extLst>
                <a:ext uri="{FF2B5EF4-FFF2-40B4-BE49-F238E27FC236}">
                  <a16:creationId xmlns:a16="http://schemas.microsoft.com/office/drawing/2014/main" id="{3F8E0B4E-1309-9993-3CA6-AE00315D8067}"/>
                </a:ext>
              </a:extLst>
            </p:cNvPr>
            <p:cNvSpPr/>
            <p:nvPr/>
          </p:nvSpPr>
          <p:spPr>
            <a:xfrm flipH="1">
              <a:off x="3661728" y="2821184"/>
              <a:ext cx="1872208" cy="1872208"/>
            </a:xfrm>
            <a:prstGeom prst="pie">
              <a:avLst>
                <a:gd name="adj1" fmla="val 10832722"/>
                <a:gd name="adj2" fmla="val 16200000"/>
              </a:avLst>
            </a:prstGeom>
            <a:solidFill>
              <a:srgbClr val="FFCB0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8" name="Pie 10">
              <a:extLst>
                <a:ext uri="{FF2B5EF4-FFF2-40B4-BE49-F238E27FC236}">
                  <a16:creationId xmlns:a16="http://schemas.microsoft.com/office/drawing/2014/main" id="{C28EE2FB-2BF9-0891-8202-E640F2987C7A}"/>
                </a:ext>
              </a:extLst>
            </p:cNvPr>
            <p:cNvSpPr/>
            <p:nvPr/>
          </p:nvSpPr>
          <p:spPr>
            <a:xfrm rot="5400000" flipH="1">
              <a:off x="3661728" y="2893440"/>
              <a:ext cx="1872208" cy="1872208"/>
            </a:xfrm>
            <a:prstGeom prst="pie">
              <a:avLst>
                <a:gd name="adj1" fmla="val 10832722"/>
                <a:gd name="adj2" fmla="val 16200000"/>
              </a:avLst>
            </a:prstGeom>
            <a:solidFill>
              <a:srgbClr val="66666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7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19" name="Group 15">
            <a:extLst>
              <a:ext uri="{FF2B5EF4-FFF2-40B4-BE49-F238E27FC236}">
                <a16:creationId xmlns:a16="http://schemas.microsoft.com/office/drawing/2014/main" id="{FF377464-C27D-DD54-8F74-77DE648AA7B0}"/>
              </a:ext>
            </a:extLst>
          </p:cNvPr>
          <p:cNvGrpSpPr/>
          <p:nvPr/>
        </p:nvGrpSpPr>
        <p:grpSpPr>
          <a:xfrm>
            <a:off x="314325" y="2209651"/>
            <a:ext cx="3217390" cy="988412"/>
            <a:chOff x="5600058" y="1433695"/>
            <a:chExt cx="2840830" cy="703180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DDE3E21-EC7A-95BC-7028-0C202A4AED00}"/>
                </a:ext>
              </a:extLst>
            </p:cNvPr>
            <p:cNvSpPr txBox="1"/>
            <p:nvPr/>
          </p:nvSpPr>
          <p:spPr>
            <a:xfrm>
              <a:off x="5600060" y="1433695"/>
              <a:ext cx="2840828" cy="1970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/>
              <a:r>
                <a:rPr lang="en-US" altLang="ko-KR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cs typeface="Arial" pitchFamily="34" charset="0"/>
                </a:rPr>
                <a:t>Enhancing creativity and innovation</a:t>
              </a:r>
              <a:endParaRPr lang="ko-KR" altLang="en-US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A8D1A5C-D29F-34E4-A6DC-391AD3AF3441}"/>
                </a:ext>
              </a:extLst>
            </p:cNvPr>
            <p:cNvSpPr txBox="1"/>
            <p:nvPr/>
          </p:nvSpPr>
          <p:spPr>
            <a:xfrm>
              <a:off x="5600058" y="1630759"/>
              <a:ext cx="2840829" cy="5061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en-US" sz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cs typeface="Arial" pitchFamily="34" charset="0"/>
                </a:rPr>
                <a:t>Design thinking encourages divergent thinking, allowing project teams to explore multiple solutions and foster innovation.</a:t>
              </a:r>
              <a:endParaRPr lang="en-GB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  <a:cs typeface="Arial" pitchFamily="34" charset="0"/>
              </a:endParaRPr>
            </a:p>
          </p:txBody>
        </p:sp>
      </p:grpSp>
      <p:sp>
        <p:nvSpPr>
          <p:cNvPr id="31" name="Rectangle 16">
            <a:extLst>
              <a:ext uri="{FF2B5EF4-FFF2-40B4-BE49-F238E27FC236}">
                <a16:creationId xmlns:a16="http://schemas.microsoft.com/office/drawing/2014/main" id="{66997467-C7CD-C7C9-046E-19634DC3225B}"/>
              </a:ext>
            </a:extLst>
          </p:cNvPr>
          <p:cNvSpPr/>
          <p:nvPr/>
        </p:nvSpPr>
        <p:spPr>
          <a:xfrm rot="2700000">
            <a:off x="3775104" y="3463036"/>
            <a:ext cx="265920" cy="476745"/>
          </a:xfrm>
          <a:custGeom>
            <a:avLst/>
            <a:gdLst/>
            <a:ahLst/>
            <a:cxnLst/>
            <a:rect l="l" t="t" r="r" b="b"/>
            <a:pathLst>
              <a:path w="2232248" h="4001999">
                <a:moveTo>
                  <a:pt x="1116887" y="0"/>
                </a:moveTo>
                <a:cubicBezTo>
                  <a:pt x="1270748" y="4762"/>
                  <a:pt x="1433283" y="120651"/>
                  <a:pt x="1447291" y="308459"/>
                </a:cubicBezTo>
                <a:cubicBezTo>
                  <a:pt x="1483174" y="544979"/>
                  <a:pt x="1283237" y="603082"/>
                  <a:pt x="1339988" y="887363"/>
                </a:cubicBezTo>
                <a:lnTo>
                  <a:pt x="2232248" y="887363"/>
                </a:lnTo>
                <a:lnTo>
                  <a:pt x="2232248" y="1778237"/>
                </a:lnTo>
                <a:cubicBezTo>
                  <a:pt x="1956566" y="1829261"/>
                  <a:pt x="1897086" y="1634366"/>
                  <a:pt x="1663321" y="1669832"/>
                </a:cubicBezTo>
                <a:cubicBezTo>
                  <a:pt x="1475513" y="1683840"/>
                  <a:pt x="1359624" y="1846375"/>
                  <a:pt x="1354862" y="2000236"/>
                </a:cubicBezTo>
                <a:cubicBezTo>
                  <a:pt x="1358037" y="2135389"/>
                  <a:pt x="1477787" y="2334920"/>
                  <a:pt x="1701420" y="2336507"/>
                </a:cubicBezTo>
                <a:cubicBezTo>
                  <a:pt x="1972077" y="2308709"/>
                  <a:pt x="1932339" y="2176007"/>
                  <a:pt x="2232248" y="2187989"/>
                </a:cubicBezTo>
                <a:lnTo>
                  <a:pt x="2232248" y="3119611"/>
                </a:lnTo>
                <a:lnTo>
                  <a:pt x="1303259" y="3119611"/>
                </a:lnTo>
                <a:cubicBezTo>
                  <a:pt x="1289664" y="3424971"/>
                  <a:pt x="1423682" y="3383289"/>
                  <a:pt x="1451633" y="3655441"/>
                </a:cubicBezTo>
                <a:cubicBezTo>
                  <a:pt x="1450046" y="3879074"/>
                  <a:pt x="1250515" y="3998824"/>
                  <a:pt x="1115362" y="4001999"/>
                </a:cubicBezTo>
                <a:cubicBezTo>
                  <a:pt x="961501" y="3997237"/>
                  <a:pt x="798966" y="3881348"/>
                  <a:pt x="784958" y="3693540"/>
                </a:cubicBezTo>
                <a:cubicBezTo>
                  <a:pt x="749282" y="3458385"/>
                  <a:pt x="946712" y="3399594"/>
                  <a:pt x="892811" y="3119611"/>
                </a:cubicBezTo>
                <a:lnTo>
                  <a:pt x="0" y="3119611"/>
                </a:lnTo>
                <a:lnTo>
                  <a:pt x="0" y="2203607"/>
                </a:lnTo>
                <a:cubicBezTo>
                  <a:pt x="285884" y="2145799"/>
                  <a:pt x="343730" y="2346665"/>
                  <a:pt x="580754" y="2310706"/>
                </a:cubicBezTo>
                <a:cubicBezTo>
                  <a:pt x="768562" y="2296698"/>
                  <a:pt x="884451" y="2134163"/>
                  <a:pt x="889213" y="1980302"/>
                </a:cubicBezTo>
                <a:cubicBezTo>
                  <a:pt x="886038" y="1845149"/>
                  <a:pt x="766288" y="1645618"/>
                  <a:pt x="542655" y="1644031"/>
                </a:cubicBezTo>
                <a:cubicBezTo>
                  <a:pt x="268493" y="1672188"/>
                  <a:pt x="312817" y="1807984"/>
                  <a:pt x="0" y="1792208"/>
                </a:cubicBezTo>
                <a:lnTo>
                  <a:pt x="0" y="887363"/>
                </a:lnTo>
                <a:lnTo>
                  <a:pt x="928847" y="887363"/>
                </a:lnTo>
                <a:cubicBezTo>
                  <a:pt x="944034" y="576570"/>
                  <a:pt x="808718" y="620178"/>
                  <a:pt x="780616" y="346558"/>
                </a:cubicBezTo>
                <a:cubicBezTo>
                  <a:pt x="782203" y="122925"/>
                  <a:pt x="981734" y="3175"/>
                  <a:pt x="1116887" y="0"/>
                </a:cubicBezTo>
                <a:close/>
              </a:path>
            </a:pathLst>
          </a:cu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2" name="Rectangle 9">
            <a:extLst>
              <a:ext uri="{FF2B5EF4-FFF2-40B4-BE49-F238E27FC236}">
                <a16:creationId xmlns:a16="http://schemas.microsoft.com/office/drawing/2014/main" id="{D672FBD4-DD8F-6770-4605-1A2A5555865B}"/>
              </a:ext>
            </a:extLst>
          </p:cNvPr>
          <p:cNvSpPr/>
          <p:nvPr/>
        </p:nvSpPr>
        <p:spPr>
          <a:xfrm>
            <a:off x="3683558" y="4306560"/>
            <a:ext cx="329463" cy="308407"/>
          </a:xfrm>
          <a:custGeom>
            <a:avLst/>
            <a:gdLst>
              <a:gd name="connsiteX0" fmla="*/ 833935 w 3239999"/>
              <a:gd name="connsiteY0" fmla="*/ 22 h 3032924"/>
              <a:gd name="connsiteX1" fmla="*/ 1576606 w 3239999"/>
              <a:gd name="connsiteY1" fmla="*/ 402054 h 3032924"/>
              <a:gd name="connsiteX2" fmla="*/ 1576606 w 3239999"/>
              <a:gd name="connsiteY2" fmla="*/ 430441 h 3032924"/>
              <a:gd name="connsiteX3" fmla="*/ 1576606 w 3239999"/>
              <a:gd name="connsiteY3" fmla="*/ 526981 h 3032924"/>
              <a:gd name="connsiteX4" fmla="*/ 1576606 w 3239999"/>
              <a:gd name="connsiteY4" fmla="*/ 2765302 h 3032924"/>
              <a:gd name="connsiteX5" fmla="*/ 378630 w 3239999"/>
              <a:gd name="connsiteY5" fmla="*/ 2472117 h 3032924"/>
              <a:gd name="connsiteX6" fmla="*/ 384918 w 3239999"/>
              <a:gd name="connsiteY6" fmla="*/ 526981 h 3032924"/>
              <a:gd name="connsiteX7" fmla="*/ 239143 w 3239999"/>
              <a:gd name="connsiteY7" fmla="*/ 526981 h 3032924"/>
              <a:gd name="connsiteX8" fmla="*/ 239143 w 3239999"/>
              <a:gd name="connsiteY8" fmla="*/ 2776423 h 3032924"/>
              <a:gd name="connsiteX9" fmla="*/ 1576606 w 3239999"/>
              <a:gd name="connsiteY9" fmla="*/ 2776423 h 3032924"/>
              <a:gd name="connsiteX10" fmla="*/ 1576606 w 3239999"/>
              <a:gd name="connsiteY10" fmla="*/ 2778202 h 3032924"/>
              <a:gd name="connsiteX11" fmla="*/ 1663394 w 3239999"/>
              <a:gd name="connsiteY11" fmla="*/ 2778202 h 3032924"/>
              <a:gd name="connsiteX12" fmla="*/ 1663394 w 3239999"/>
              <a:gd name="connsiteY12" fmla="*/ 2776423 h 3032924"/>
              <a:gd name="connsiteX13" fmla="*/ 3000856 w 3239999"/>
              <a:gd name="connsiteY13" fmla="*/ 2776423 h 3032924"/>
              <a:gd name="connsiteX14" fmla="*/ 3000856 w 3239999"/>
              <a:gd name="connsiteY14" fmla="*/ 526981 h 3032924"/>
              <a:gd name="connsiteX15" fmla="*/ 2855082 w 3239999"/>
              <a:gd name="connsiteY15" fmla="*/ 526981 h 3032924"/>
              <a:gd name="connsiteX16" fmla="*/ 2861369 w 3239999"/>
              <a:gd name="connsiteY16" fmla="*/ 2472117 h 3032924"/>
              <a:gd name="connsiteX17" fmla="*/ 1663394 w 3239999"/>
              <a:gd name="connsiteY17" fmla="*/ 2765302 h 3032924"/>
              <a:gd name="connsiteX18" fmla="*/ 1663394 w 3239999"/>
              <a:gd name="connsiteY18" fmla="*/ 526981 h 3032924"/>
              <a:gd name="connsiteX19" fmla="*/ 1663394 w 3239999"/>
              <a:gd name="connsiteY19" fmla="*/ 430441 h 3032924"/>
              <a:gd name="connsiteX20" fmla="*/ 1663394 w 3239999"/>
              <a:gd name="connsiteY20" fmla="*/ 402054 h 3032924"/>
              <a:gd name="connsiteX21" fmla="*/ 2406065 w 3239999"/>
              <a:gd name="connsiteY21" fmla="*/ 22 h 3032924"/>
              <a:gd name="connsiteX22" fmla="*/ 2853673 w 3239999"/>
              <a:gd name="connsiteY22" fmla="*/ 91100 h 3032924"/>
              <a:gd name="connsiteX23" fmla="*/ 2854770 w 3239999"/>
              <a:gd name="connsiteY23" fmla="*/ 430441 h 3032924"/>
              <a:gd name="connsiteX24" fmla="*/ 3120669 w 3239999"/>
              <a:gd name="connsiteY24" fmla="*/ 428517 h 3032924"/>
              <a:gd name="connsiteX25" fmla="*/ 3120669 w 3239999"/>
              <a:gd name="connsiteY25" fmla="*/ 738345 h 3032924"/>
              <a:gd name="connsiteX26" fmla="*/ 3239999 w 3239999"/>
              <a:gd name="connsiteY26" fmla="*/ 738345 h 3032924"/>
              <a:gd name="connsiteX27" fmla="*/ 3239999 w 3239999"/>
              <a:gd name="connsiteY27" fmla="*/ 3032924 h 3032924"/>
              <a:gd name="connsiteX28" fmla="*/ 0 w 3239999"/>
              <a:gd name="connsiteY28" fmla="*/ 3032924 h 3032924"/>
              <a:gd name="connsiteX29" fmla="*/ 0 w 3239999"/>
              <a:gd name="connsiteY29" fmla="*/ 738345 h 3032924"/>
              <a:gd name="connsiteX30" fmla="*/ 102477 w 3239999"/>
              <a:gd name="connsiteY30" fmla="*/ 738345 h 3032924"/>
              <a:gd name="connsiteX31" fmla="*/ 102477 w 3239999"/>
              <a:gd name="connsiteY31" fmla="*/ 428517 h 3032924"/>
              <a:gd name="connsiteX32" fmla="*/ 385229 w 3239999"/>
              <a:gd name="connsiteY32" fmla="*/ 430441 h 3032924"/>
              <a:gd name="connsiteX33" fmla="*/ 386326 w 3239999"/>
              <a:gd name="connsiteY33" fmla="*/ 91100 h 3032924"/>
              <a:gd name="connsiteX34" fmla="*/ 833935 w 3239999"/>
              <a:gd name="connsiteY34" fmla="*/ 22 h 3032924"/>
              <a:gd name="connsiteX0" fmla="*/ 833935 w 3239999"/>
              <a:gd name="connsiteY0" fmla="*/ 22 h 3032924"/>
              <a:gd name="connsiteX1" fmla="*/ 1576606 w 3239999"/>
              <a:gd name="connsiteY1" fmla="*/ 402054 h 3032924"/>
              <a:gd name="connsiteX2" fmla="*/ 1576606 w 3239999"/>
              <a:gd name="connsiteY2" fmla="*/ 430441 h 3032924"/>
              <a:gd name="connsiteX3" fmla="*/ 1576606 w 3239999"/>
              <a:gd name="connsiteY3" fmla="*/ 526981 h 3032924"/>
              <a:gd name="connsiteX4" fmla="*/ 1576606 w 3239999"/>
              <a:gd name="connsiteY4" fmla="*/ 2765302 h 3032924"/>
              <a:gd name="connsiteX5" fmla="*/ 378630 w 3239999"/>
              <a:gd name="connsiteY5" fmla="*/ 2472117 h 3032924"/>
              <a:gd name="connsiteX6" fmla="*/ 384918 w 3239999"/>
              <a:gd name="connsiteY6" fmla="*/ 526981 h 3032924"/>
              <a:gd name="connsiteX7" fmla="*/ 239143 w 3239999"/>
              <a:gd name="connsiteY7" fmla="*/ 526981 h 3032924"/>
              <a:gd name="connsiteX8" fmla="*/ 239143 w 3239999"/>
              <a:gd name="connsiteY8" fmla="*/ 2776423 h 3032924"/>
              <a:gd name="connsiteX9" fmla="*/ 1576606 w 3239999"/>
              <a:gd name="connsiteY9" fmla="*/ 2776423 h 3032924"/>
              <a:gd name="connsiteX10" fmla="*/ 1576606 w 3239999"/>
              <a:gd name="connsiteY10" fmla="*/ 2778202 h 3032924"/>
              <a:gd name="connsiteX11" fmla="*/ 1663394 w 3239999"/>
              <a:gd name="connsiteY11" fmla="*/ 2778202 h 3032924"/>
              <a:gd name="connsiteX12" fmla="*/ 1663394 w 3239999"/>
              <a:gd name="connsiteY12" fmla="*/ 2776423 h 3032924"/>
              <a:gd name="connsiteX13" fmla="*/ 3000856 w 3239999"/>
              <a:gd name="connsiteY13" fmla="*/ 2776423 h 3032924"/>
              <a:gd name="connsiteX14" fmla="*/ 3000856 w 3239999"/>
              <a:gd name="connsiteY14" fmla="*/ 526981 h 3032924"/>
              <a:gd name="connsiteX15" fmla="*/ 2855082 w 3239999"/>
              <a:gd name="connsiteY15" fmla="*/ 526981 h 3032924"/>
              <a:gd name="connsiteX16" fmla="*/ 2861369 w 3239999"/>
              <a:gd name="connsiteY16" fmla="*/ 2472117 h 3032924"/>
              <a:gd name="connsiteX17" fmla="*/ 1663394 w 3239999"/>
              <a:gd name="connsiteY17" fmla="*/ 2765302 h 3032924"/>
              <a:gd name="connsiteX18" fmla="*/ 1663394 w 3239999"/>
              <a:gd name="connsiteY18" fmla="*/ 526981 h 3032924"/>
              <a:gd name="connsiteX19" fmla="*/ 1663394 w 3239999"/>
              <a:gd name="connsiteY19" fmla="*/ 430441 h 3032924"/>
              <a:gd name="connsiteX20" fmla="*/ 1663394 w 3239999"/>
              <a:gd name="connsiteY20" fmla="*/ 402054 h 3032924"/>
              <a:gd name="connsiteX21" fmla="*/ 2406065 w 3239999"/>
              <a:gd name="connsiteY21" fmla="*/ 22 h 3032924"/>
              <a:gd name="connsiteX22" fmla="*/ 2853673 w 3239999"/>
              <a:gd name="connsiteY22" fmla="*/ 91100 h 3032924"/>
              <a:gd name="connsiteX23" fmla="*/ 2854770 w 3239999"/>
              <a:gd name="connsiteY23" fmla="*/ 430441 h 3032924"/>
              <a:gd name="connsiteX24" fmla="*/ 3120669 w 3239999"/>
              <a:gd name="connsiteY24" fmla="*/ 428517 h 3032924"/>
              <a:gd name="connsiteX25" fmla="*/ 3120669 w 3239999"/>
              <a:gd name="connsiteY25" fmla="*/ 738345 h 3032924"/>
              <a:gd name="connsiteX26" fmla="*/ 3239999 w 3239999"/>
              <a:gd name="connsiteY26" fmla="*/ 738345 h 3032924"/>
              <a:gd name="connsiteX27" fmla="*/ 3239999 w 3239999"/>
              <a:gd name="connsiteY27" fmla="*/ 3032924 h 3032924"/>
              <a:gd name="connsiteX28" fmla="*/ 0 w 3239999"/>
              <a:gd name="connsiteY28" fmla="*/ 3032924 h 3032924"/>
              <a:gd name="connsiteX29" fmla="*/ 0 w 3239999"/>
              <a:gd name="connsiteY29" fmla="*/ 738345 h 3032924"/>
              <a:gd name="connsiteX30" fmla="*/ 102477 w 3239999"/>
              <a:gd name="connsiteY30" fmla="*/ 738345 h 3032924"/>
              <a:gd name="connsiteX31" fmla="*/ 102477 w 3239999"/>
              <a:gd name="connsiteY31" fmla="*/ 428517 h 3032924"/>
              <a:gd name="connsiteX32" fmla="*/ 385229 w 3239999"/>
              <a:gd name="connsiteY32" fmla="*/ 430441 h 3032924"/>
              <a:gd name="connsiteX33" fmla="*/ 386326 w 3239999"/>
              <a:gd name="connsiteY33" fmla="*/ 91100 h 3032924"/>
              <a:gd name="connsiteX34" fmla="*/ 833935 w 3239999"/>
              <a:gd name="connsiteY34" fmla="*/ 22 h 3032924"/>
              <a:gd name="connsiteX0" fmla="*/ 833935 w 3239999"/>
              <a:gd name="connsiteY0" fmla="*/ 22 h 3032924"/>
              <a:gd name="connsiteX1" fmla="*/ 1576606 w 3239999"/>
              <a:gd name="connsiteY1" fmla="*/ 402054 h 3032924"/>
              <a:gd name="connsiteX2" fmla="*/ 1576606 w 3239999"/>
              <a:gd name="connsiteY2" fmla="*/ 430441 h 3032924"/>
              <a:gd name="connsiteX3" fmla="*/ 1576606 w 3239999"/>
              <a:gd name="connsiteY3" fmla="*/ 526981 h 3032924"/>
              <a:gd name="connsiteX4" fmla="*/ 1576606 w 3239999"/>
              <a:gd name="connsiteY4" fmla="*/ 2765302 h 3032924"/>
              <a:gd name="connsiteX5" fmla="*/ 378630 w 3239999"/>
              <a:gd name="connsiteY5" fmla="*/ 2472117 h 3032924"/>
              <a:gd name="connsiteX6" fmla="*/ 384918 w 3239999"/>
              <a:gd name="connsiteY6" fmla="*/ 526981 h 3032924"/>
              <a:gd name="connsiteX7" fmla="*/ 239143 w 3239999"/>
              <a:gd name="connsiteY7" fmla="*/ 526981 h 3032924"/>
              <a:gd name="connsiteX8" fmla="*/ 239143 w 3239999"/>
              <a:gd name="connsiteY8" fmla="*/ 2776423 h 3032924"/>
              <a:gd name="connsiteX9" fmla="*/ 1576606 w 3239999"/>
              <a:gd name="connsiteY9" fmla="*/ 2776423 h 3032924"/>
              <a:gd name="connsiteX10" fmla="*/ 1576606 w 3239999"/>
              <a:gd name="connsiteY10" fmla="*/ 2778202 h 3032924"/>
              <a:gd name="connsiteX11" fmla="*/ 1663394 w 3239999"/>
              <a:gd name="connsiteY11" fmla="*/ 2778202 h 3032924"/>
              <a:gd name="connsiteX12" fmla="*/ 1663394 w 3239999"/>
              <a:gd name="connsiteY12" fmla="*/ 2776423 h 3032924"/>
              <a:gd name="connsiteX13" fmla="*/ 3000856 w 3239999"/>
              <a:gd name="connsiteY13" fmla="*/ 2776423 h 3032924"/>
              <a:gd name="connsiteX14" fmla="*/ 3000856 w 3239999"/>
              <a:gd name="connsiteY14" fmla="*/ 526981 h 3032924"/>
              <a:gd name="connsiteX15" fmla="*/ 2855082 w 3239999"/>
              <a:gd name="connsiteY15" fmla="*/ 526981 h 3032924"/>
              <a:gd name="connsiteX16" fmla="*/ 2861369 w 3239999"/>
              <a:gd name="connsiteY16" fmla="*/ 2472117 h 3032924"/>
              <a:gd name="connsiteX17" fmla="*/ 1663394 w 3239999"/>
              <a:gd name="connsiteY17" fmla="*/ 2765302 h 3032924"/>
              <a:gd name="connsiteX18" fmla="*/ 1663394 w 3239999"/>
              <a:gd name="connsiteY18" fmla="*/ 526981 h 3032924"/>
              <a:gd name="connsiteX19" fmla="*/ 1663394 w 3239999"/>
              <a:gd name="connsiteY19" fmla="*/ 430441 h 3032924"/>
              <a:gd name="connsiteX20" fmla="*/ 1663394 w 3239999"/>
              <a:gd name="connsiteY20" fmla="*/ 402054 h 3032924"/>
              <a:gd name="connsiteX21" fmla="*/ 2406065 w 3239999"/>
              <a:gd name="connsiteY21" fmla="*/ 22 h 3032924"/>
              <a:gd name="connsiteX22" fmla="*/ 2853673 w 3239999"/>
              <a:gd name="connsiteY22" fmla="*/ 91100 h 3032924"/>
              <a:gd name="connsiteX23" fmla="*/ 2854770 w 3239999"/>
              <a:gd name="connsiteY23" fmla="*/ 430441 h 3032924"/>
              <a:gd name="connsiteX24" fmla="*/ 3120669 w 3239999"/>
              <a:gd name="connsiteY24" fmla="*/ 428517 h 3032924"/>
              <a:gd name="connsiteX25" fmla="*/ 3120669 w 3239999"/>
              <a:gd name="connsiteY25" fmla="*/ 738345 h 3032924"/>
              <a:gd name="connsiteX26" fmla="*/ 3239999 w 3239999"/>
              <a:gd name="connsiteY26" fmla="*/ 738345 h 3032924"/>
              <a:gd name="connsiteX27" fmla="*/ 3239999 w 3239999"/>
              <a:gd name="connsiteY27" fmla="*/ 3032924 h 3032924"/>
              <a:gd name="connsiteX28" fmla="*/ 0 w 3239999"/>
              <a:gd name="connsiteY28" fmla="*/ 3032924 h 3032924"/>
              <a:gd name="connsiteX29" fmla="*/ 0 w 3239999"/>
              <a:gd name="connsiteY29" fmla="*/ 738345 h 3032924"/>
              <a:gd name="connsiteX30" fmla="*/ 102477 w 3239999"/>
              <a:gd name="connsiteY30" fmla="*/ 738345 h 3032924"/>
              <a:gd name="connsiteX31" fmla="*/ 102477 w 3239999"/>
              <a:gd name="connsiteY31" fmla="*/ 428517 h 3032924"/>
              <a:gd name="connsiteX32" fmla="*/ 385229 w 3239999"/>
              <a:gd name="connsiteY32" fmla="*/ 430441 h 3032924"/>
              <a:gd name="connsiteX33" fmla="*/ 386326 w 3239999"/>
              <a:gd name="connsiteY33" fmla="*/ 91100 h 3032924"/>
              <a:gd name="connsiteX34" fmla="*/ 833935 w 3239999"/>
              <a:gd name="connsiteY34" fmla="*/ 2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29618 w 3239999"/>
              <a:gd name="connsiteY32" fmla="*/ 2690698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2991331 w 3239999"/>
              <a:gd name="connsiteY3" fmla="*/ 2709748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29618 w 3239999"/>
              <a:gd name="connsiteY32" fmla="*/ 2690698 h 3032924"/>
              <a:gd name="connsiteX33" fmla="*/ 1576606 w 3239999"/>
              <a:gd name="connsiteY33" fmla="*/ 2776423 h 3032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239999" h="3032924">
                <a:moveTo>
                  <a:pt x="1576606" y="2778202"/>
                </a:moveTo>
                <a:cubicBezTo>
                  <a:pt x="1576606" y="2778795"/>
                  <a:pt x="1663394" y="2792670"/>
                  <a:pt x="1663394" y="2778202"/>
                </a:cubicBezTo>
                <a:lnTo>
                  <a:pt x="1663394" y="2776423"/>
                </a:lnTo>
                <a:cubicBezTo>
                  <a:pt x="2185083" y="2605634"/>
                  <a:pt x="2444552" y="2500589"/>
                  <a:pt x="2991331" y="2709748"/>
                </a:cubicBezTo>
                <a:lnTo>
                  <a:pt x="3000856" y="526981"/>
                </a:lnTo>
                <a:lnTo>
                  <a:pt x="2855082" y="526981"/>
                </a:lnTo>
                <a:cubicBezTo>
                  <a:pt x="2857178" y="1175360"/>
                  <a:pt x="2859273" y="1823738"/>
                  <a:pt x="2861369" y="2472117"/>
                </a:cubicBezTo>
                <a:cubicBezTo>
                  <a:pt x="2483869" y="2318121"/>
                  <a:pt x="2052449" y="2439541"/>
                  <a:pt x="1663394" y="2765302"/>
                </a:cubicBezTo>
                <a:lnTo>
                  <a:pt x="1663394" y="526981"/>
                </a:lnTo>
                <a:lnTo>
                  <a:pt x="1663394" y="430441"/>
                </a:lnTo>
                <a:lnTo>
                  <a:pt x="1663394" y="402054"/>
                </a:lnTo>
                <a:cubicBezTo>
                  <a:pt x="1896442" y="149589"/>
                  <a:pt x="2115835" y="2106"/>
                  <a:pt x="2406065" y="22"/>
                </a:cubicBezTo>
                <a:cubicBezTo>
                  <a:pt x="2537987" y="-925"/>
                  <a:pt x="2684544" y="28169"/>
                  <a:pt x="2853673" y="91100"/>
                </a:cubicBezTo>
                <a:cubicBezTo>
                  <a:pt x="2854039" y="204214"/>
                  <a:pt x="2854404" y="317327"/>
                  <a:pt x="2854770" y="430441"/>
                </a:cubicBezTo>
                <a:lnTo>
                  <a:pt x="3120669" y="428517"/>
                </a:lnTo>
                <a:lnTo>
                  <a:pt x="3120669" y="738345"/>
                </a:lnTo>
                <a:lnTo>
                  <a:pt x="3239999" y="738345"/>
                </a:lnTo>
                <a:lnTo>
                  <a:pt x="3239999" y="3032924"/>
                </a:lnTo>
                <a:lnTo>
                  <a:pt x="0" y="3032924"/>
                </a:lnTo>
                <a:lnTo>
                  <a:pt x="0" y="738345"/>
                </a:lnTo>
                <a:lnTo>
                  <a:pt x="102477" y="738345"/>
                </a:lnTo>
                <a:lnTo>
                  <a:pt x="102477" y="428517"/>
                </a:lnTo>
                <a:lnTo>
                  <a:pt x="385229" y="430441"/>
                </a:lnTo>
                <a:cubicBezTo>
                  <a:pt x="385595" y="317327"/>
                  <a:pt x="385960" y="204214"/>
                  <a:pt x="386326" y="91100"/>
                </a:cubicBezTo>
                <a:cubicBezTo>
                  <a:pt x="555455" y="28169"/>
                  <a:pt x="702013" y="-925"/>
                  <a:pt x="833935" y="22"/>
                </a:cubicBezTo>
                <a:cubicBezTo>
                  <a:pt x="1124164" y="2106"/>
                  <a:pt x="1343558" y="149589"/>
                  <a:pt x="1576606" y="402054"/>
                </a:cubicBezTo>
                <a:lnTo>
                  <a:pt x="1576606" y="430441"/>
                </a:lnTo>
                <a:lnTo>
                  <a:pt x="1576606" y="526981"/>
                </a:lnTo>
                <a:lnTo>
                  <a:pt x="1576606" y="2765302"/>
                </a:lnTo>
                <a:cubicBezTo>
                  <a:pt x="1187550" y="2439541"/>
                  <a:pt x="756130" y="2318121"/>
                  <a:pt x="378630" y="2472117"/>
                </a:cubicBezTo>
                <a:lnTo>
                  <a:pt x="384918" y="526981"/>
                </a:lnTo>
                <a:lnTo>
                  <a:pt x="239143" y="526981"/>
                </a:lnTo>
                <a:lnTo>
                  <a:pt x="229618" y="2690698"/>
                </a:lnTo>
                <a:cubicBezTo>
                  <a:pt x="773243" y="2466244"/>
                  <a:pt x="1081748" y="2626096"/>
                  <a:pt x="1576606" y="2776423"/>
                </a:cubicBezTo>
              </a:path>
            </a:pathLst>
          </a:cu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3" name="Rounded Rectangle 5">
            <a:extLst>
              <a:ext uri="{FF2B5EF4-FFF2-40B4-BE49-F238E27FC236}">
                <a16:creationId xmlns:a16="http://schemas.microsoft.com/office/drawing/2014/main" id="{28765153-0843-8723-013B-7F5FDF856E56}"/>
              </a:ext>
            </a:extLst>
          </p:cNvPr>
          <p:cNvSpPr/>
          <p:nvPr/>
        </p:nvSpPr>
        <p:spPr>
          <a:xfrm flipH="1">
            <a:off x="4503327" y="3525423"/>
            <a:ext cx="391682" cy="323114"/>
          </a:xfrm>
          <a:custGeom>
            <a:avLst/>
            <a:gdLst>
              <a:gd name="connsiteX0" fmla="*/ 1384251 w 3217557"/>
              <a:gd name="connsiteY0" fmla="*/ 661544 h 2702049"/>
              <a:gd name="connsiteX1" fmla="*/ 1574067 w 3217557"/>
              <a:gd name="connsiteY1" fmla="*/ 851360 h 2702049"/>
              <a:gd name="connsiteX2" fmla="*/ 1384251 w 3217557"/>
              <a:gd name="connsiteY2" fmla="*/ 1041176 h 2702049"/>
              <a:gd name="connsiteX3" fmla="*/ 1194435 w 3217557"/>
              <a:gd name="connsiteY3" fmla="*/ 851360 h 2702049"/>
              <a:gd name="connsiteX4" fmla="*/ 1384251 w 3217557"/>
              <a:gd name="connsiteY4" fmla="*/ 661544 h 2702049"/>
              <a:gd name="connsiteX5" fmla="*/ 1993421 w 3217557"/>
              <a:gd name="connsiteY5" fmla="*/ 661544 h 2702049"/>
              <a:gd name="connsiteX6" fmla="*/ 2183237 w 3217557"/>
              <a:gd name="connsiteY6" fmla="*/ 851360 h 2702049"/>
              <a:gd name="connsiteX7" fmla="*/ 1993421 w 3217557"/>
              <a:gd name="connsiteY7" fmla="*/ 1041176 h 2702049"/>
              <a:gd name="connsiteX8" fmla="*/ 1803605 w 3217557"/>
              <a:gd name="connsiteY8" fmla="*/ 851360 h 2702049"/>
              <a:gd name="connsiteX9" fmla="*/ 1993421 w 3217557"/>
              <a:gd name="connsiteY9" fmla="*/ 661544 h 2702049"/>
              <a:gd name="connsiteX10" fmla="*/ 2602591 w 3217557"/>
              <a:gd name="connsiteY10" fmla="*/ 661544 h 2702049"/>
              <a:gd name="connsiteX11" fmla="*/ 2792407 w 3217557"/>
              <a:gd name="connsiteY11" fmla="*/ 851360 h 2702049"/>
              <a:gd name="connsiteX12" fmla="*/ 2602591 w 3217557"/>
              <a:gd name="connsiteY12" fmla="*/ 1041176 h 2702049"/>
              <a:gd name="connsiteX13" fmla="*/ 2412775 w 3217557"/>
              <a:gd name="connsiteY13" fmla="*/ 851360 h 2702049"/>
              <a:gd name="connsiteX14" fmla="*/ 2602591 w 3217557"/>
              <a:gd name="connsiteY14" fmla="*/ 661544 h 2702049"/>
              <a:gd name="connsiteX15" fmla="*/ 677114 w 3217557"/>
              <a:gd name="connsiteY15" fmla="*/ 569491 h 2702049"/>
              <a:gd name="connsiteX16" fmla="*/ 330916 w 3217557"/>
              <a:gd name="connsiteY16" fmla="*/ 569491 h 2702049"/>
              <a:gd name="connsiteX17" fmla="*/ 0 w 3217557"/>
              <a:gd name="connsiteY17" fmla="*/ 900407 h 2702049"/>
              <a:gd name="connsiteX18" fmla="*/ 0 w 3217557"/>
              <a:gd name="connsiteY18" fmla="*/ 1952009 h 2702049"/>
              <a:gd name="connsiteX19" fmla="*/ 330916 w 3217557"/>
              <a:gd name="connsiteY19" fmla="*/ 2282925 h 2702049"/>
              <a:gd name="connsiteX20" fmla="*/ 711670 w 3217557"/>
              <a:gd name="connsiteY20" fmla="*/ 2282925 h 2702049"/>
              <a:gd name="connsiteX21" fmla="*/ 15770 w 3217557"/>
              <a:gd name="connsiteY21" fmla="*/ 2702049 h 2702049"/>
              <a:gd name="connsiteX22" fmla="*/ 1294529 w 3217557"/>
              <a:gd name="connsiteY22" fmla="*/ 2282925 h 2702049"/>
              <a:gd name="connsiteX23" fmla="*/ 2117356 w 3217557"/>
              <a:gd name="connsiteY23" fmla="*/ 2282925 h 2702049"/>
              <a:gd name="connsiteX24" fmla="*/ 2418395 w 3217557"/>
              <a:gd name="connsiteY24" fmla="*/ 2087951 h 2702049"/>
              <a:gd name="connsiteX25" fmla="*/ 1830857 w 3217557"/>
              <a:gd name="connsiteY25" fmla="*/ 1799347 h 2702049"/>
              <a:gd name="connsiteX26" fmla="*/ 1008030 w 3217557"/>
              <a:gd name="connsiteY26" fmla="*/ 1799347 h 2702049"/>
              <a:gd name="connsiteX27" fmla="*/ 677114 w 3217557"/>
              <a:gd name="connsiteY27" fmla="*/ 1468431 h 2702049"/>
              <a:gd name="connsiteX28" fmla="*/ 677114 w 3217557"/>
              <a:gd name="connsiteY28" fmla="*/ 569491 h 2702049"/>
              <a:gd name="connsiteX29" fmla="*/ 2886641 w 3217557"/>
              <a:gd name="connsiteY29" fmla="*/ 0 h 2702049"/>
              <a:gd name="connsiteX30" fmla="*/ 1100201 w 3217557"/>
              <a:gd name="connsiteY30" fmla="*/ 0 h 2702049"/>
              <a:gd name="connsiteX31" fmla="*/ 769285 w 3217557"/>
              <a:gd name="connsiteY31" fmla="*/ 330916 h 2702049"/>
              <a:gd name="connsiteX32" fmla="*/ 769285 w 3217557"/>
              <a:gd name="connsiteY32" fmla="*/ 1382518 h 2702049"/>
              <a:gd name="connsiteX33" fmla="*/ 1100201 w 3217557"/>
              <a:gd name="connsiteY33" fmla="*/ 1713434 h 2702049"/>
              <a:gd name="connsiteX34" fmla="*/ 1923028 w 3217557"/>
              <a:gd name="connsiteY34" fmla="*/ 1713434 h 2702049"/>
              <a:gd name="connsiteX35" fmla="*/ 3078958 w 3217557"/>
              <a:gd name="connsiteY35" fmla="*/ 2077967 h 2702049"/>
              <a:gd name="connsiteX36" fmla="*/ 2505887 w 3217557"/>
              <a:gd name="connsiteY36" fmla="*/ 1713434 h 2702049"/>
              <a:gd name="connsiteX37" fmla="*/ 2886641 w 3217557"/>
              <a:gd name="connsiteY37" fmla="*/ 1713434 h 2702049"/>
              <a:gd name="connsiteX38" fmla="*/ 3217557 w 3217557"/>
              <a:gd name="connsiteY38" fmla="*/ 1382518 h 2702049"/>
              <a:gd name="connsiteX39" fmla="*/ 3217557 w 3217557"/>
              <a:gd name="connsiteY39" fmla="*/ 330916 h 2702049"/>
              <a:gd name="connsiteX40" fmla="*/ 2886641 w 3217557"/>
              <a:gd name="connsiteY40" fmla="*/ 0 h 2702049"/>
              <a:gd name="connsiteX0" fmla="*/ 1384251 w 3217557"/>
              <a:gd name="connsiteY0" fmla="*/ 661544 h 2702049"/>
              <a:gd name="connsiteX1" fmla="*/ 1574067 w 3217557"/>
              <a:gd name="connsiteY1" fmla="*/ 851360 h 2702049"/>
              <a:gd name="connsiteX2" fmla="*/ 1384251 w 3217557"/>
              <a:gd name="connsiteY2" fmla="*/ 1041176 h 2702049"/>
              <a:gd name="connsiteX3" fmla="*/ 1194435 w 3217557"/>
              <a:gd name="connsiteY3" fmla="*/ 851360 h 2702049"/>
              <a:gd name="connsiteX4" fmla="*/ 1384251 w 3217557"/>
              <a:gd name="connsiteY4" fmla="*/ 661544 h 2702049"/>
              <a:gd name="connsiteX5" fmla="*/ 1993421 w 3217557"/>
              <a:gd name="connsiteY5" fmla="*/ 661544 h 2702049"/>
              <a:gd name="connsiteX6" fmla="*/ 2183237 w 3217557"/>
              <a:gd name="connsiteY6" fmla="*/ 851360 h 2702049"/>
              <a:gd name="connsiteX7" fmla="*/ 1993421 w 3217557"/>
              <a:gd name="connsiteY7" fmla="*/ 1041176 h 2702049"/>
              <a:gd name="connsiteX8" fmla="*/ 1803605 w 3217557"/>
              <a:gd name="connsiteY8" fmla="*/ 851360 h 2702049"/>
              <a:gd name="connsiteX9" fmla="*/ 1993421 w 3217557"/>
              <a:gd name="connsiteY9" fmla="*/ 661544 h 2702049"/>
              <a:gd name="connsiteX10" fmla="*/ 2602591 w 3217557"/>
              <a:gd name="connsiteY10" fmla="*/ 661544 h 2702049"/>
              <a:gd name="connsiteX11" fmla="*/ 2792407 w 3217557"/>
              <a:gd name="connsiteY11" fmla="*/ 851360 h 2702049"/>
              <a:gd name="connsiteX12" fmla="*/ 2602591 w 3217557"/>
              <a:gd name="connsiteY12" fmla="*/ 1041176 h 2702049"/>
              <a:gd name="connsiteX13" fmla="*/ 2412775 w 3217557"/>
              <a:gd name="connsiteY13" fmla="*/ 851360 h 2702049"/>
              <a:gd name="connsiteX14" fmla="*/ 2602591 w 3217557"/>
              <a:gd name="connsiteY14" fmla="*/ 661544 h 2702049"/>
              <a:gd name="connsiteX15" fmla="*/ 677114 w 3217557"/>
              <a:gd name="connsiteY15" fmla="*/ 569491 h 2702049"/>
              <a:gd name="connsiteX16" fmla="*/ 330916 w 3217557"/>
              <a:gd name="connsiteY16" fmla="*/ 569491 h 2702049"/>
              <a:gd name="connsiteX17" fmla="*/ 0 w 3217557"/>
              <a:gd name="connsiteY17" fmla="*/ 900407 h 2702049"/>
              <a:gd name="connsiteX18" fmla="*/ 0 w 3217557"/>
              <a:gd name="connsiteY18" fmla="*/ 1952009 h 2702049"/>
              <a:gd name="connsiteX19" fmla="*/ 330916 w 3217557"/>
              <a:gd name="connsiteY19" fmla="*/ 2282925 h 2702049"/>
              <a:gd name="connsiteX20" fmla="*/ 711670 w 3217557"/>
              <a:gd name="connsiteY20" fmla="*/ 2282925 h 2702049"/>
              <a:gd name="connsiteX21" fmla="*/ 15770 w 3217557"/>
              <a:gd name="connsiteY21" fmla="*/ 2702049 h 2702049"/>
              <a:gd name="connsiteX22" fmla="*/ 1294529 w 3217557"/>
              <a:gd name="connsiteY22" fmla="*/ 2282925 h 2702049"/>
              <a:gd name="connsiteX23" fmla="*/ 2117356 w 3217557"/>
              <a:gd name="connsiteY23" fmla="*/ 2282925 h 2702049"/>
              <a:gd name="connsiteX24" fmla="*/ 2418395 w 3217557"/>
              <a:gd name="connsiteY24" fmla="*/ 2087951 h 2702049"/>
              <a:gd name="connsiteX25" fmla="*/ 1830857 w 3217557"/>
              <a:gd name="connsiteY25" fmla="*/ 1799347 h 2702049"/>
              <a:gd name="connsiteX26" fmla="*/ 1008030 w 3217557"/>
              <a:gd name="connsiteY26" fmla="*/ 1799347 h 2702049"/>
              <a:gd name="connsiteX27" fmla="*/ 677114 w 3217557"/>
              <a:gd name="connsiteY27" fmla="*/ 1468431 h 2702049"/>
              <a:gd name="connsiteX28" fmla="*/ 677114 w 3217557"/>
              <a:gd name="connsiteY28" fmla="*/ 569491 h 2702049"/>
              <a:gd name="connsiteX29" fmla="*/ 2886641 w 3217557"/>
              <a:gd name="connsiteY29" fmla="*/ 0 h 2702049"/>
              <a:gd name="connsiteX30" fmla="*/ 1100201 w 3217557"/>
              <a:gd name="connsiteY30" fmla="*/ 0 h 2702049"/>
              <a:gd name="connsiteX31" fmla="*/ 769285 w 3217557"/>
              <a:gd name="connsiteY31" fmla="*/ 330916 h 2702049"/>
              <a:gd name="connsiteX32" fmla="*/ 769285 w 3217557"/>
              <a:gd name="connsiteY32" fmla="*/ 1382518 h 2702049"/>
              <a:gd name="connsiteX33" fmla="*/ 1100201 w 3217557"/>
              <a:gd name="connsiteY33" fmla="*/ 1713434 h 2702049"/>
              <a:gd name="connsiteX34" fmla="*/ 1923028 w 3217557"/>
              <a:gd name="connsiteY34" fmla="*/ 1713434 h 2702049"/>
              <a:gd name="connsiteX35" fmla="*/ 3078958 w 3217557"/>
              <a:gd name="connsiteY35" fmla="*/ 2077967 h 2702049"/>
              <a:gd name="connsiteX36" fmla="*/ 2505887 w 3217557"/>
              <a:gd name="connsiteY36" fmla="*/ 1713434 h 2702049"/>
              <a:gd name="connsiteX37" fmla="*/ 2886641 w 3217557"/>
              <a:gd name="connsiteY37" fmla="*/ 1713434 h 2702049"/>
              <a:gd name="connsiteX38" fmla="*/ 3217557 w 3217557"/>
              <a:gd name="connsiteY38" fmla="*/ 1382518 h 2702049"/>
              <a:gd name="connsiteX39" fmla="*/ 3217557 w 3217557"/>
              <a:gd name="connsiteY39" fmla="*/ 330916 h 2702049"/>
              <a:gd name="connsiteX40" fmla="*/ 2886641 w 3217557"/>
              <a:gd name="connsiteY40" fmla="*/ 0 h 2702049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217557" h="2654282">
                <a:moveTo>
                  <a:pt x="1384251" y="661544"/>
                </a:moveTo>
                <a:cubicBezTo>
                  <a:pt x="1489083" y="661544"/>
                  <a:pt x="1574067" y="746528"/>
                  <a:pt x="1574067" y="851360"/>
                </a:cubicBezTo>
                <a:cubicBezTo>
                  <a:pt x="1574067" y="956192"/>
                  <a:pt x="1489083" y="1041176"/>
                  <a:pt x="1384251" y="1041176"/>
                </a:cubicBezTo>
                <a:cubicBezTo>
                  <a:pt x="1279419" y="1041176"/>
                  <a:pt x="1194435" y="956192"/>
                  <a:pt x="1194435" y="851360"/>
                </a:cubicBezTo>
                <a:cubicBezTo>
                  <a:pt x="1194435" y="746528"/>
                  <a:pt x="1279419" y="661544"/>
                  <a:pt x="1384251" y="661544"/>
                </a:cubicBezTo>
                <a:close/>
                <a:moveTo>
                  <a:pt x="1993421" y="661544"/>
                </a:moveTo>
                <a:cubicBezTo>
                  <a:pt x="2098253" y="661544"/>
                  <a:pt x="2183237" y="746528"/>
                  <a:pt x="2183237" y="851360"/>
                </a:cubicBezTo>
                <a:cubicBezTo>
                  <a:pt x="2183237" y="956192"/>
                  <a:pt x="2098253" y="1041176"/>
                  <a:pt x="1993421" y="1041176"/>
                </a:cubicBezTo>
                <a:cubicBezTo>
                  <a:pt x="1888589" y="1041176"/>
                  <a:pt x="1803605" y="956192"/>
                  <a:pt x="1803605" y="851360"/>
                </a:cubicBezTo>
                <a:cubicBezTo>
                  <a:pt x="1803605" y="746528"/>
                  <a:pt x="1888589" y="661544"/>
                  <a:pt x="1993421" y="661544"/>
                </a:cubicBezTo>
                <a:close/>
                <a:moveTo>
                  <a:pt x="2602591" y="661544"/>
                </a:moveTo>
                <a:cubicBezTo>
                  <a:pt x="2707423" y="661544"/>
                  <a:pt x="2792407" y="746528"/>
                  <a:pt x="2792407" y="851360"/>
                </a:cubicBezTo>
                <a:cubicBezTo>
                  <a:pt x="2792407" y="956192"/>
                  <a:pt x="2707423" y="1041176"/>
                  <a:pt x="2602591" y="1041176"/>
                </a:cubicBezTo>
                <a:cubicBezTo>
                  <a:pt x="2497759" y="1041176"/>
                  <a:pt x="2412775" y="956192"/>
                  <a:pt x="2412775" y="851360"/>
                </a:cubicBezTo>
                <a:cubicBezTo>
                  <a:pt x="2412775" y="746528"/>
                  <a:pt x="2497759" y="661544"/>
                  <a:pt x="2602591" y="661544"/>
                </a:cubicBezTo>
                <a:close/>
                <a:moveTo>
                  <a:pt x="677114" y="569491"/>
                </a:moveTo>
                <a:lnTo>
                  <a:pt x="330916" y="569491"/>
                </a:lnTo>
                <a:cubicBezTo>
                  <a:pt x="148156" y="569491"/>
                  <a:pt x="0" y="717647"/>
                  <a:pt x="0" y="900407"/>
                </a:cubicBezTo>
                <a:lnTo>
                  <a:pt x="0" y="1952009"/>
                </a:lnTo>
                <a:cubicBezTo>
                  <a:pt x="0" y="2134769"/>
                  <a:pt x="148156" y="2282925"/>
                  <a:pt x="330916" y="2282925"/>
                </a:cubicBezTo>
                <a:lnTo>
                  <a:pt x="711670" y="2282925"/>
                </a:lnTo>
                <a:cubicBezTo>
                  <a:pt x="639726" y="2394386"/>
                  <a:pt x="647101" y="2475544"/>
                  <a:pt x="275077" y="2654282"/>
                </a:cubicBezTo>
                <a:cubicBezTo>
                  <a:pt x="900998" y="2583693"/>
                  <a:pt x="998412" y="2552618"/>
                  <a:pt x="1294529" y="2282925"/>
                </a:cubicBezTo>
                <a:lnTo>
                  <a:pt x="2117356" y="2282925"/>
                </a:lnTo>
                <a:cubicBezTo>
                  <a:pt x="2251554" y="2282925"/>
                  <a:pt x="2367095" y="2203043"/>
                  <a:pt x="2418395" y="2087951"/>
                </a:cubicBezTo>
                <a:cubicBezTo>
                  <a:pt x="2205538" y="2022975"/>
                  <a:pt x="2032941" y="1932583"/>
                  <a:pt x="1830857" y="1799347"/>
                </a:cubicBezTo>
                <a:lnTo>
                  <a:pt x="1008030" y="1799347"/>
                </a:lnTo>
                <a:cubicBezTo>
                  <a:pt x="825270" y="1799347"/>
                  <a:pt x="677114" y="1651191"/>
                  <a:pt x="677114" y="1468431"/>
                </a:cubicBezTo>
                <a:lnTo>
                  <a:pt x="677114" y="569491"/>
                </a:lnTo>
                <a:close/>
                <a:moveTo>
                  <a:pt x="2886641" y="0"/>
                </a:moveTo>
                <a:lnTo>
                  <a:pt x="1100201" y="0"/>
                </a:lnTo>
                <a:cubicBezTo>
                  <a:pt x="917441" y="0"/>
                  <a:pt x="769285" y="148156"/>
                  <a:pt x="769285" y="330916"/>
                </a:cubicBezTo>
                <a:lnTo>
                  <a:pt x="769285" y="1382518"/>
                </a:lnTo>
                <a:cubicBezTo>
                  <a:pt x="769285" y="1565278"/>
                  <a:pt x="917441" y="1713434"/>
                  <a:pt x="1100201" y="1713434"/>
                </a:cubicBezTo>
                <a:lnTo>
                  <a:pt x="1923028" y="1713434"/>
                </a:lnTo>
                <a:cubicBezTo>
                  <a:pt x="2301032" y="1962656"/>
                  <a:pt x="2453037" y="2007378"/>
                  <a:pt x="3078958" y="2077967"/>
                </a:cubicBezTo>
                <a:cubicBezTo>
                  <a:pt x="2713759" y="1878758"/>
                  <a:pt x="2673367" y="1899957"/>
                  <a:pt x="2505887" y="1713434"/>
                </a:cubicBezTo>
                <a:lnTo>
                  <a:pt x="2886641" y="1713434"/>
                </a:lnTo>
                <a:cubicBezTo>
                  <a:pt x="3069401" y="1713434"/>
                  <a:pt x="3217557" y="1565278"/>
                  <a:pt x="3217557" y="1382518"/>
                </a:cubicBezTo>
                <a:lnTo>
                  <a:pt x="3217557" y="330916"/>
                </a:lnTo>
                <a:cubicBezTo>
                  <a:pt x="3217557" y="148156"/>
                  <a:pt x="3069401" y="0"/>
                  <a:pt x="2886641" y="0"/>
                </a:cubicBezTo>
                <a:close/>
              </a:path>
            </a:pathLst>
          </a:cu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4" name="Rectangle 36">
            <a:extLst>
              <a:ext uri="{FF2B5EF4-FFF2-40B4-BE49-F238E27FC236}">
                <a16:creationId xmlns:a16="http://schemas.microsoft.com/office/drawing/2014/main" id="{35CAD276-F4C6-3DD3-D731-671FA095E2A6}"/>
              </a:ext>
            </a:extLst>
          </p:cNvPr>
          <p:cNvSpPr/>
          <p:nvPr/>
        </p:nvSpPr>
        <p:spPr>
          <a:xfrm>
            <a:off x="4497585" y="4294910"/>
            <a:ext cx="329463" cy="323115"/>
          </a:xfrm>
          <a:custGeom>
            <a:avLst/>
            <a:gdLst/>
            <a:ahLst/>
            <a:cxnLst/>
            <a:rect l="l" t="t" r="r" b="b"/>
            <a:pathLst>
              <a:path w="3186824" h="2663936">
                <a:moveTo>
                  <a:pt x="2624444" y="2376100"/>
                </a:moveTo>
                <a:lnTo>
                  <a:pt x="2624444" y="2520100"/>
                </a:lnTo>
                <a:lnTo>
                  <a:pt x="2952463" y="2520100"/>
                </a:lnTo>
                <a:lnTo>
                  <a:pt x="2952463" y="2376100"/>
                </a:lnTo>
                <a:close/>
                <a:moveTo>
                  <a:pt x="210911" y="2376100"/>
                </a:moveTo>
                <a:lnTo>
                  <a:pt x="210911" y="2520100"/>
                </a:lnTo>
                <a:lnTo>
                  <a:pt x="538930" y="2520100"/>
                </a:lnTo>
                <a:lnTo>
                  <a:pt x="538930" y="2376100"/>
                </a:lnTo>
                <a:close/>
                <a:moveTo>
                  <a:pt x="2624444" y="2095269"/>
                </a:moveTo>
                <a:lnTo>
                  <a:pt x="2624444" y="2239269"/>
                </a:lnTo>
                <a:lnTo>
                  <a:pt x="2952463" y="2239269"/>
                </a:lnTo>
                <a:lnTo>
                  <a:pt x="2952463" y="2095269"/>
                </a:lnTo>
                <a:close/>
                <a:moveTo>
                  <a:pt x="210911" y="2095269"/>
                </a:moveTo>
                <a:lnTo>
                  <a:pt x="210911" y="2239269"/>
                </a:lnTo>
                <a:lnTo>
                  <a:pt x="538930" y="2239269"/>
                </a:lnTo>
                <a:lnTo>
                  <a:pt x="538930" y="2095269"/>
                </a:lnTo>
                <a:close/>
                <a:moveTo>
                  <a:pt x="2624444" y="1814436"/>
                </a:moveTo>
                <a:lnTo>
                  <a:pt x="2624444" y="1958436"/>
                </a:lnTo>
                <a:lnTo>
                  <a:pt x="2952463" y="1958436"/>
                </a:lnTo>
                <a:lnTo>
                  <a:pt x="2952463" y="1814436"/>
                </a:lnTo>
                <a:close/>
                <a:moveTo>
                  <a:pt x="210911" y="1814436"/>
                </a:moveTo>
                <a:lnTo>
                  <a:pt x="210911" y="1958436"/>
                </a:lnTo>
                <a:lnTo>
                  <a:pt x="538930" y="1958436"/>
                </a:lnTo>
                <a:lnTo>
                  <a:pt x="538930" y="1814436"/>
                </a:lnTo>
                <a:close/>
                <a:moveTo>
                  <a:pt x="2624444" y="1533603"/>
                </a:moveTo>
                <a:lnTo>
                  <a:pt x="2624444" y="1677603"/>
                </a:lnTo>
                <a:lnTo>
                  <a:pt x="2952463" y="1677603"/>
                </a:lnTo>
                <a:lnTo>
                  <a:pt x="2952463" y="1533603"/>
                </a:lnTo>
                <a:close/>
                <a:moveTo>
                  <a:pt x="210911" y="1533603"/>
                </a:moveTo>
                <a:lnTo>
                  <a:pt x="210911" y="1677603"/>
                </a:lnTo>
                <a:lnTo>
                  <a:pt x="538930" y="1677603"/>
                </a:lnTo>
                <a:lnTo>
                  <a:pt x="538930" y="1533603"/>
                </a:lnTo>
                <a:close/>
                <a:moveTo>
                  <a:pt x="2624444" y="1252770"/>
                </a:moveTo>
                <a:lnTo>
                  <a:pt x="2624444" y="1396770"/>
                </a:lnTo>
                <a:lnTo>
                  <a:pt x="2952463" y="1396770"/>
                </a:lnTo>
                <a:lnTo>
                  <a:pt x="2952463" y="1252770"/>
                </a:lnTo>
                <a:close/>
                <a:moveTo>
                  <a:pt x="210911" y="1252770"/>
                </a:moveTo>
                <a:lnTo>
                  <a:pt x="210911" y="1396770"/>
                </a:lnTo>
                <a:lnTo>
                  <a:pt x="538930" y="1396770"/>
                </a:lnTo>
                <a:lnTo>
                  <a:pt x="538930" y="1252770"/>
                </a:lnTo>
                <a:close/>
                <a:moveTo>
                  <a:pt x="2624444" y="971937"/>
                </a:moveTo>
                <a:lnTo>
                  <a:pt x="2624444" y="1115937"/>
                </a:lnTo>
                <a:lnTo>
                  <a:pt x="2952463" y="1115937"/>
                </a:lnTo>
                <a:lnTo>
                  <a:pt x="2952463" y="971937"/>
                </a:lnTo>
                <a:close/>
                <a:moveTo>
                  <a:pt x="210911" y="971937"/>
                </a:moveTo>
                <a:lnTo>
                  <a:pt x="210911" y="1115937"/>
                </a:lnTo>
                <a:lnTo>
                  <a:pt x="538930" y="1115937"/>
                </a:lnTo>
                <a:lnTo>
                  <a:pt x="538930" y="971937"/>
                </a:lnTo>
                <a:close/>
                <a:moveTo>
                  <a:pt x="2624444" y="691104"/>
                </a:moveTo>
                <a:lnTo>
                  <a:pt x="2624444" y="835104"/>
                </a:lnTo>
                <a:lnTo>
                  <a:pt x="2952463" y="835104"/>
                </a:lnTo>
                <a:lnTo>
                  <a:pt x="2952463" y="691104"/>
                </a:lnTo>
                <a:close/>
                <a:moveTo>
                  <a:pt x="210911" y="691104"/>
                </a:moveTo>
                <a:lnTo>
                  <a:pt x="210911" y="835104"/>
                </a:lnTo>
                <a:lnTo>
                  <a:pt x="538930" y="835104"/>
                </a:lnTo>
                <a:lnTo>
                  <a:pt x="538930" y="691104"/>
                </a:lnTo>
                <a:close/>
                <a:moveTo>
                  <a:pt x="988006" y="552354"/>
                </a:moveTo>
                <a:lnTo>
                  <a:pt x="988006" y="2111583"/>
                </a:lnTo>
                <a:lnTo>
                  <a:pt x="2332169" y="1331969"/>
                </a:lnTo>
                <a:close/>
                <a:moveTo>
                  <a:pt x="2624444" y="410271"/>
                </a:moveTo>
                <a:lnTo>
                  <a:pt x="2624444" y="554271"/>
                </a:lnTo>
                <a:lnTo>
                  <a:pt x="2952463" y="554271"/>
                </a:lnTo>
                <a:lnTo>
                  <a:pt x="2952463" y="410271"/>
                </a:lnTo>
                <a:close/>
                <a:moveTo>
                  <a:pt x="210911" y="410271"/>
                </a:moveTo>
                <a:lnTo>
                  <a:pt x="210911" y="554271"/>
                </a:lnTo>
                <a:lnTo>
                  <a:pt x="538930" y="554271"/>
                </a:lnTo>
                <a:lnTo>
                  <a:pt x="538930" y="410271"/>
                </a:lnTo>
                <a:close/>
                <a:moveTo>
                  <a:pt x="2624444" y="129438"/>
                </a:moveTo>
                <a:lnTo>
                  <a:pt x="2624444" y="273438"/>
                </a:lnTo>
                <a:lnTo>
                  <a:pt x="2952463" y="273438"/>
                </a:lnTo>
                <a:lnTo>
                  <a:pt x="2952463" y="129438"/>
                </a:lnTo>
                <a:close/>
                <a:moveTo>
                  <a:pt x="210911" y="129438"/>
                </a:moveTo>
                <a:lnTo>
                  <a:pt x="210911" y="273438"/>
                </a:lnTo>
                <a:lnTo>
                  <a:pt x="538930" y="273438"/>
                </a:lnTo>
                <a:lnTo>
                  <a:pt x="538930" y="129438"/>
                </a:lnTo>
                <a:close/>
                <a:moveTo>
                  <a:pt x="0" y="0"/>
                </a:moveTo>
                <a:lnTo>
                  <a:pt x="3186824" y="0"/>
                </a:lnTo>
                <a:lnTo>
                  <a:pt x="3186824" y="2663936"/>
                </a:lnTo>
                <a:lnTo>
                  <a:pt x="0" y="2663936"/>
                </a:lnTo>
                <a:close/>
              </a:path>
            </a:pathLst>
          </a:cu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5" name="Text Placeholder 1">
            <a:extLst>
              <a:ext uri="{FF2B5EF4-FFF2-40B4-BE49-F238E27FC236}">
                <a16:creationId xmlns:a16="http://schemas.microsoft.com/office/drawing/2014/main" id="{C7E33F90-D315-8CDD-0CB7-EBC179A4DCD8}"/>
              </a:ext>
            </a:extLst>
          </p:cNvPr>
          <p:cNvSpPr txBox="1">
            <a:spLocks/>
          </p:cNvSpPr>
          <p:nvPr/>
        </p:nvSpPr>
        <p:spPr>
          <a:xfrm>
            <a:off x="314325" y="974079"/>
            <a:ext cx="8093218" cy="743377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i="1" kern="1200">
                <a:solidFill>
                  <a:schemeClr val="tx1"/>
                </a:solidFill>
                <a:latin typeface="MTN Brighter Sans Light" panose="00000400000000000000" pitchFamily="50" charset="0"/>
                <a:ea typeface="+mn-ea"/>
                <a:cs typeface="+mn-cs"/>
              </a:defRPr>
            </a:lvl1pPr>
            <a:lvl2pPr marL="322263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3713" indent="-1619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54050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5975" indent="-152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en-US" dirty="0">
                <a:effectLst/>
                <a:latin typeface="Cambria" panose="02040503050406030204" pitchFamily="18" charset="0"/>
                <a:ea typeface="MS Mincho" panose="02020609040205080304" pitchFamily="49" charset="-128"/>
                <a:cs typeface="Times New Roman" panose="02020603050405020304" pitchFamily="18" charset="0"/>
              </a:rPr>
              <a:t>By prioritizing empathy and user feedback, design thinking ensures that projects are inclusive, addressing the needs and concerns of all stakeholders leading to more sustainable practices and outcomes.</a:t>
            </a:r>
            <a:endParaRPr lang="en-GB" dirty="0">
              <a:effectLst/>
              <a:latin typeface="Cambria" panose="02040503050406030204" pitchFamily="18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</p:txBody>
      </p:sp>
      <p:grpSp>
        <p:nvGrpSpPr>
          <p:cNvPr id="37" name="Group 15">
            <a:extLst>
              <a:ext uri="{FF2B5EF4-FFF2-40B4-BE49-F238E27FC236}">
                <a16:creationId xmlns:a16="http://schemas.microsoft.com/office/drawing/2014/main" id="{F6B03445-FCD3-031E-4D88-279982457209}"/>
              </a:ext>
            </a:extLst>
          </p:cNvPr>
          <p:cNvGrpSpPr/>
          <p:nvPr/>
        </p:nvGrpSpPr>
        <p:grpSpPr>
          <a:xfrm>
            <a:off x="314326" y="4430301"/>
            <a:ext cx="3369231" cy="1385443"/>
            <a:chOff x="5600058" y="1433695"/>
            <a:chExt cx="2840830" cy="985637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56631C9D-7644-4B46-B2CC-2E2B3ADD3C85}"/>
                </a:ext>
              </a:extLst>
            </p:cNvPr>
            <p:cNvSpPr txBox="1"/>
            <p:nvPr/>
          </p:nvSpPr>
          <p:spPr>
            <a:xfrm>
              <a:off x="5600060" y="1433695"/>
              <a:ext cx="2840828" cy="3284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/>
              <a:r>
                <a:rPr lang="en-US" altLang="ko-KR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cs typeface="Arial" pitchFamily="34" charset="0"/>
                </a:rPr>
                <a:t>Improving problem-solving &amp; decision-making</a:t>
              </a:r>
              <a:endParaRPr lang="ko-KR" altLang="en-US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C6A0CFE6-31FE-415E-9968-785F8BB3E637}"/>
                </a:ext>
              </a:extLst>
            </p:cNvPr>
            <p:cNvSpPr txBox="1"/>
            <p:nvPr/>
          </p:nvSpPr>
          <p:spPr>
            <a:xfrm>
              <a:off x="5600058" y="1762134"/>
              <a:ext cx="2840829" cy="6571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lnSpc>
                  <a:spcPct val="115000"/>
                </a:lnSpc>
                <a:spcAft>
                  <a:spcPts val="1000"/>
                </a:spcAft>
              </a:pPr>
              <a:r>
                <a:rPr lang="en-US" sz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cs typeface="Arial" pitchFamily="34" charset="0"/>
                </a:rPr>
                <a:t>By focusing on the user's needs and iterating on solutions, design thinking leads to more effective problem-solving and informed decision-making.</a:t>
              </a:r>
              <a:endParaRPr lang="en-GB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  <a:cs typeface="Arial" pitchFamily="34" charset="0"/>
              </a:endParaRPr>
            </a:p>
          </p:txBody>
        </p:sp>
      </p:grpSp>
      <p:grpSp>
        <p:nvGrpSpPr>
          <p:cNvPr id="40" name="Group 15">
            <a:extLst>
              <a:ext uri="{FF2B5EF4-FFF2-40B4-BE49-F238E27FC236}">
                <a16:creationId xmlns:a16="http://schemas.microsoft.com/office/drawing/2014/main" id="{1A75F203-A1EB-9711-7E6C-E7E6A1CA5F33}"/>
              </a:ext>
            </a:extLst>
          </p:cNvPr>
          <p:cNvGrpSpPr/>
          <p:nvPr/>
        </p:nvGrpSpPr>
        <p:grpSpPr>
          <a:xfrm>
            <a:off x="5019040" y="2101702"/>
            <a:ext cx="3274728" cy="1418722"/>
            <a:chOff x="5600058" y="1433695"/>
            <a:chExt cx="2840830" cy="1009313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5B83BBEB-118B-ADC6-75F9-E1C9844EDE5F}"/>
                </a:ext>
              </a:extLst>
            </p:cNvPr>
            <p:cNvSpPr txBox="1"/>
            <p:nvPr/>
          </p:nvSpPr>
          <p:spPr>
            <a:xfrm>
              <a:off x="5600060" y="1433695"/>
              <a:ext cx="2840828" cy="1970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/>
              <a:r>
                <a:rPr lang="en-US" altLang="ko-KR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cs typeface="Arial" pitchFamily="34" charset="0"/>
                </a:rPr>
                <a:t>Fostering collaboration and inclusivity</a:t>
              </a:r>
              <a:endParaRPr lang="ko-KR" altLang="en-US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589699F4-817D-3F6E-9E02-F06409133114}"/>
                </a:ext>
              </a:extLst>
            </p:cNvPr>
            <p:cNvSpPr txBox="1"/>
            <p:nvPr/>
          </p:nvSpPr>
          <p:spPr>
            <a:xfrm>
              <a:off x="5600058" y="1630759"/>
              <a:ext cx="2840828" cy="8122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en-US" sz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cs typeface="Arial" pitchFamily="34" charset="0"/>
                </a:rPr>
                <a:t>Design thinking promotes collaboration by involving diverse stakeholders and team members in the problem-solving process, ensuring that multiple perspectives are considered.</a:t>
              </a:r>
              <a:endParaRPr lang="en-GB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  <a:cs typeface="Arial" pitchFamily="34" charset="0"/>
              </a:endParaRPr>
            </a:p>
          </p:txBody>
        </p:sp>
      </p:grpSp>
      <p:grpSp>
        <p:nvGrpSpPr>
          <p:cNvPr id="43" name="Group 15">
            <a:extLst>
              <a:ext uri="{FF2B5EF4-FFF2-40B4-BE49-F238E27FC236}">
                <a16:creationId xmlns:a16="http://schemas.microsoft.com/office/drawing/2014/main" id="{6E3CA56A-CCB1-903F-6F56-A45B7CDA9DE8}"/>
              </a:ext>
            </a:extLst>
          </p:cNvPr>
          <p:cNvGrpSpPr/>
          <p:nvPr/>
        </p:nvGrpSpPr>
        <p:grpSpPr>
          <a:xfrm>
            <a:off x="5143247" y="4430301"/>
            <a:ext cx="3264296" cy="1436510"/>
            <a:chOff x="5559720" y="1433695"/>
            <a:chExt cx="2881168" cy="1021967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ABC87079-1186-092E-A9AE-F4448F84CBCC}"/>
                </a:ext>
              </a:extLst>
            </p:cNvPr>
            <p:cNvSpPr txBox="1"/>
            <p:nvPr/>
          </p:nvSpPr>
          <p:spPr>
            <a:xfrm>
              <a:off x="5600060" y="1433695"/>
              <a:ext cx="2840828" cy="328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/>
              <a:r>
                <a:rPr lang="en-US" altLang="ko-KR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cs typeface="Arial" pitchFamily="34" charset="0"/>
                </a:rPr>
                <a:t>Enhancing user engagement &amp; satisfaction</a:t>
              </a:r>
              <a:endParaRPr lang="ko-KR" altLang="en-US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06CE5480-C32A-BBAF-B29F-D8C0EDA1C536}"/>
                </a:ext>
              </a:extLst>
            </p:cNvPr>
            <p:cNvSpPr txBox="1"/>
            <p:nvPr/>
          </p:nvSpPr>
          <p:spPr>
            <a:xfrm>
              <a:off x="5559720" y="1733095"/>
              <a:ext cx="2840828" cy="7225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/>
              <a:r>
                <a:rPr lang="en-GB" altLang="ko-KR" sz="12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cs typeface="Arial" pitchFamily="34" charset="0"/>
                </a:rPr>
                <a:t> By involving users throughout the design process and continuously iterating based on their feedback, projects are more likely to deliver outcomes that truly resonate with the end users</a:t>
              </a:r>
              <a:endParaRPr lang="ko-KR" altLang="en-US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535999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881B382-85C3-C940-913F-5CB38A3340C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23348" y="1380364"/>
            <a:ext cx="3545304" cy="3879674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sz="1600" b="1" dirty="0">
                <a:solidFill>
                  <a:schemeClr val="tx1"/>
                </a:solidFill>
                <a:latin typeface="+mj-lt"/>
                <a:ea typeface="MS Mincho" panose="02020609040205080304" pitchFamily="49" charset="-128"/>
                <a:cs typeface="Times New Roman" panose="02020603050405020304" pitchFamily="18" charset="0"/>
              </a:rPr>
              <a:t>User Personas</a:t>
            </a:r>
            <a:r>
              <a:rPr lang="en-US" sz="1600" dirty="0">
                <a:solidFill>
                  <a:schemeClr val="tx1"/>
                </a:solidFill>
                <a:latin typeface="+mj-lt"/>
                <a:ea typeface="MS Mincho" panose="02020609040205080304" pitchFamily="49" charset="-128"/>
                <a:cs typeface="Times New Roman" panose="02020603050405020304" pitchFamily="18" charset="0"/>
              </a:rPr>
              <a:t>: Develop detailed profiles of your target users to guide the design process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b="1" dirty="0">
                <a:solidFill>
                  <a:schemeClr val="tx1"/>
                </a:solidFill>
                <a:latin typeface="+mj-lt"/>
                <a:ea typeface="MS Mincho" panose="02020609040205080304" pitchFamily="49" charset="-128"/>
                <a:cs typeface="Times New Roman" panose="02020603050405020304" pitchFamily="18" charset="0"/>
              </a:rPr>
              <a:t>Journey Mapping: </a:t>
            </a:r>
            <a:r>
              <a:rPr lang="en-US" sz="1600" dirty="0">
                <a:solidFill>
                  <a:schemeClr val="tx1"/>
                </a:solidFill>
                <a:latin typeface="+mj-lt"/>
                <a:ea typeface="MS Mincho" panose="02020609040205080304" pitchFamily="49" charset="-128"/>
                <a:cs typeface="Times New Roman" panose="02020603050405020304" pitchFamily="18" charset="0"/>
              </a:rPr>
              <a:t>Visualize the user experience to identify pain points and opportunities for improvement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b="1" dirty="0">
                <a:solidFill>
                  <a:schemeClr val="tx1"/>
                </a:solidFill>
                <a:latin typeface="+mj-lt"/>
                <a:ea typeface="MS Mincho" panose="02020609040205080304" pitchFamily="49" charset="-128"/>
                <a:cs typeface="Times New Roman" panose="02020603050405020304" pitchFamily="18" charset="0"/>
              </a:rPr>
              <a:t>Rapid Prototyping: </a:t>
            </a:r>
            <a:r>
              <a:rPr lang="en-US" sz="1600" dirty="0">
                <a:solidFill>
                  <a:schemeClr val="tx1"/>
                </a:solidFill>
                <a:latin typeface="+mj-lt"/>
                <a:ea typeface="MS Mincho" panose="02020609040205080304" pitchFamily="49" charset="-128"/>
                <a:cs typeface="Times New Roman" panose="02020603050405020304" pitchFamily="18" charset="0"/>
              </a:rPr>
              <a:t>Create quick, low-fidelity prototypes to test ideas and gather feedback early and often.</a:t>
            </a:r>
            <a:br>
              <a:rPr lang="en-US" sz="1600" dirty="0">
                <a:effectLst/>
                <a:latin typeface="+mj-lt"/>
                <a:ea typeface="MS Mincho" panose="02020609040205080304" pitchFamily="49" charset="-128"/>
                <a:cs typeface="Times New Roman" panose="02020603050405020304" pitchFamily="18" charset="0"/>
              </a:rPr>
            </a:br>
            <a:endParaRPr lang="en-US" sz="1100" dirty="0">
              <a:latin typeface="+mj-lt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485CA87-0E18-454F-B888-F682EC4CF6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19497B-14A5-5443-B3E4-46F4ED5E5B8C}" type="datetime3">
              <a:rPr lang="en-US" smtClean="0"/>
              <a:t>23 July 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6870DE-0077-3646-A84C-197979467E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EMBRACING DESIGN THINKIN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06CE49-40F1-FD43-9956-1E705EB5F6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3FCEF-5573-7E43-8272-70C9D66591DA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FC80C3-77F7-874E-9CBE-A70B9120D3ED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418303" y="1380364"/>
            <a:ext cx="3545304" cy="2684597"/>
          </a:xfrm>
        </p:spPr>
        <p:txBody>
          <a:bodyPr/>
          <a:lstStyle/>
          <a:p>
            <a:r>
              <a:rPr lang="en-US" sz="1600" b="1" dirty="0">
                <a:latin typeface="+mj-lt"/>
                <a:ea typeface="MS Mincho" panose="02020609040205080304" pitchFamily="49" charset="-128"/>
                <a:cs typeface="Times New Roman" panose="02020603050405020304" pitchFamily="18" charset="0"/>
              </a:rPr>
              <a:t>Common challenges</a:t>
            </a:r>
            <a:endParaRPr lang="en-GB" sz="1600" b="1" dirty="0">
              <a:latin typeface="+mj-lt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marL="342900" indent="-342900">
              <a:spcAft>
                <a:spcPts val="1000"/>
              </a:spcAft>
              <a:buFont typeface="+mj-lt"/>
              <a:buAutoNum type="arabicPeriod"/>
            </a:pPr>
            <a:r>
              <a:rPr lang="en-US" sz="1600" b="1" dirty="0">
                <a:effectLst/>
                <a:latin typeface="+mj-lt"/>
                <a:ea typeface="MS Mincho" panose="02020609040205080304" pitchFamily="49" charset="-128"/>
                <a:cs typeface="Times New Roman" panose="02020603050405020304" pitchFamily="18" charset="0"/>
              </a:rPr>
              <a:t>Resistance to Change</a:t>
            </a:r>
            <a:r>
              <a:rPr lang="en-US" sz="1600" dirty="0">
                <a:effectLst/>
                <a:latin typeface="+mj-lt"/>
                <a:ea typeface="MS Mincho" panose="02020609040205080304" pitchFamily="49" charset="-128"/>
                <a:cs typeface="Times New Roman" panose="02020603050405020304" pitchFamily="18" charset="0"/>
              </a:rPr>
              <a:t>: Teams may be hesitant to adopt new methodologies.</a:t>
            </a:r>
          </a:p>
          <a:p>
            <a:pPr marL="342900" indent="-342900">
              <a:spcAft>
                <a:spcPts val="1000"/>
              </a:spcAft>
              <a:buFont typeface="+mj-lt"/>
              <a:buAutoNum type="arabicPeriod"/>
            </a:pPr>
            <a:r>
              <a:rPr lang="en-US" sz="1600" b="1" dirty="0">
                <a:effectLst/>
                <a:latin typeface="+mj-lt"/>
                <a:ea typeface="MS Mincho" panose="02020609040205080304" pitchFamily="49" charset="-128"/>
                <a:cs typeface="Times New Roman" panose="02020603050405020304" pitchFamily="18" charset="0"/>
              </a:rPr>
              <a:t>Resource Constraints: </a:t>
            </a:r>
            <a:r>
              <a:rPr lang="en-US" sz="1600" dirty="0">
                <a:effectLst/>
                <a:latin typeface="+mj-lt"/>
                <a:ea typeface="MS Mincho" panose="02020609040205080304" pitchFamily="49" charset="-128"/>
                <a:cs typeface="Times New Roman" panose="02020603050405020304" pitchFamily="18" charset="0"/>
              </a:rPr>
              <a:t>Design thinking can require additional time and resources.</a:t>
            </a:r>
            <a:endParaRPr lang="en-GB" sz="1600" dirty="0">
              <a:effectLst/>
              <a:latin typeface="+mj-lt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r>
              <a:rPr lang="en-US" sz="1600" b="1" dirty="0">
                <a:latin typeface="+mj-lt"/>
                <a:ea typeface="MS Mincho" panose="02020609040205080304" pitchFamily="49" charset="-128"/>
                <a:cs typeface="Times New Roman" panose="02020603050405020304" pitchFamily="18" charset="0"/>
              </a:rPr>
              <a:t>Strategies to Overcome Challenges</a:t>
            </a:r>
            <a:endParaRPr lang="en-GB" sz="1600" b="1" dirty="0">
              <a:latin typeface="+mj-lt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600" b="1" dirty="0">
                <a:latin typeface="+mj-lt"/>
                <a:ea typeface="MS Mincho" panose="02020609040205080304" pitchFamily="49" charset="-128"/>
                <a:cs typeface="Times New Roman" panose="02020603050405020304" pitchFamily="18" charset="0"/>
              </a:rPr>
              <a:t>Leadership Support: </a:t>
            </a:r>
            <a:r>
              <a:rPr lang="en-US" sz="1600" dirty="0">
                <a:latin typeface="+mj-lt"/>
                <a:ea typeface="MS Mincho" panose="02020609040205080304" pitchFamily="49" charset="-128"/>
                <a:cs typeface="Times New Roman" panose="02020603050405020304" pitchFamily="18" charset="0"/>
              </a:rPr>
              <a:t>Gain buy-in from leadership to champion design thinking initiatives. Invest in training programs to build design thinking capabilities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b="1" dirty="0">
                <a:latin typeface="+mj-lt"/>
                <a:ea typeface="MS Mincho" panose="02020609040205080304" pitchFamily="49" charset="-128"/>
                <a:cs typeface="Times New Roman" panose="02020603050405020304" pitchFamily="18" charset="0"/>
              </a:rPr>
              <a:t>Incremental Implementation: </a:t>
            </a:r>
            <a:r>
              <a:rPr lang="en-US" sz="1600" dirty="0">
                <a:latin typeface="+mj-lt"/>
                <a:ea typeface="MS Mincho" panose="02020609040205080304" pitchFamily="49" charset="-128"/>
                <a:cs typeface="Times New Roman" panose="02020603050405020304" pitchFamily="18" charset="0"/>
              </a:rPr>
              <a:t>Start with small, manageable projects to demonstrate success and build momentum.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B1F4DE7-A70B-1F43-849C-38DC1A9EB785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236889" y="1380364"/>
            <a:ext cx="3545304" cy="5014807"/>
          </a:xfrm>
        </p:spPr>
        <p:txBody>
          <a:bodyPr/>
          <a:lstStyle/>
          <a:p>
            <a:pPr marL="342900" indent="-342900">
              <a:buAutoNum type="arabicPeriod"/>
            </a:pPr>
            <a:r>
              <a:rPr lang="en-US" sz="1600" b="1" dirty="0">
                <a:effectLst/>
                <a:latin typeface="+mj-lt"/>
                <a:ea typeface="MS Mincho" panose="02020609040205080304" pitchFamily="49" charset="-128"/>
                <a:cs typeface="Times New Roman" panose="02020603050405020304" pitchFamily="18" charset="0"/>
              </a:rPr>
              <a:t>Educate Your Team: </a:t>
            </a:r>
            <a:r>
              <a:rPr lang="en-US" sz="1600" dirty="0">
                <a:effectLst/>
                <a:latin typeface="+mj-lt"/>
                <a:ea typeface="MS Mincho" panose="02020609040205080304" pitchFamily="49" charset="-128"/>
                <a:cs typeface="Times New Roman" panose="02020603050405020304" pitchFamily="18" charset="0"/>
              </a:rPr>
              <a:t>Provide training on design thinking principles and methodologies.</a:t>
            </a:r>
            <a:endParaRPr lang="en-US" sz="1600" dirty="0">
              <a:latin typeface="+mj-lt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marL="342900" indent="-342900">
              <a:buAutoNum type="arabicPeriod"/>
            </a:pPr>
            <a:r>
              <a:rPr lang="en-US" sz="1600" b="1" dirty="0">
                <a:effectLst/>
                <a:latin typeface="+mj-lt"/>
                <a:ea typeface="MS Mincho" panose="02020609040205080304" pitchFamily="49" charset="-128"/>
                <a:cs typeface="Times New Roman" panose="02020603050405020304" pitchFamily="18" charset="0"/>
              </a:rPr>
              <a:t>Start Small: </a:t>
            </a:r>
            <a:r>
              <a:rPr lang="en-US" sz="1600" dirty="0">
                <a:effectLst/>
                <a:latin typeface="+mj-lt"/>
                <a:ea typeface="MS Mincho" panose="02020609040205080304" pitchFamily="49" charset="-128"/>
                <a:cs typeface="Times New Roman" panose="02020603050405020304" pitchFamily="18" charset="0"/>
              </a:rPr>
              <a:t>Begin with a pilot project to demonstrate the value of design thinking.</a:t>
            </a:r>
            <a:endParaRPr lang="en-US" sz="1600" dirty="0">
              <a:latin typeface="+mj-lt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marL="342900" indent="-342900">
              <a:buAutoNum type="arabicPeriod"/>
            </a:pPr>
            <a:r>
              <a:rPr lang="en-US" sz="1600" b="1" dirty="0">
                <a:effectLst/>
                <a:latin typeface="+mj-lt"/>
                <a:ea typeface="MS Mincho" panose="02020609040205080304" pitchFamily="49" charset="-128"/>
                <a:cs typeface="Times New Roman" panose="02020603050405020304" pitchFamily="18" charset="0"/>
              </a:rPr>
              <a:t>Engage Stakeholders</a:t>
            </a:r>
            <a:r>
              <a:rPr lang="en-US" sz="1600" dirty="0">
                <a:effectLst/>
                <a:latin typeface="+mj-lt"/>
                <a:ea typeface="MS Mincho" panose="02020609040205080304" pitchFamily="49" charset="-128"/>
                <a:cs typeface="Times New Roman" panose="02020603050405020304" pitchFamily="18" charset="0"/>
              </a:rPr>
              <a:t>: Involve users and stakeholders from the outset to ensure their needs are understood and addressed.</a:t>
            </a:r>
            <a:endParaRPr lang="en-US" sz="1600" dirty="0">
              <a:latin typeface="+mj-lt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marL="342900" indent="-342900">
              <a:buAutoNum type="arabicPeriod"/>
            </a:pPr>
            <a:r>
              <a:rPr lang="en-US" sz="1600" b="1" dirty="0">
                <a:effectLst/>
                <a:latin typeface="+mj-lt"/>
                <a:ea typeface="MS Mincho" panose="02020609040205080304" pitchFamily="49" charset="-128"/>
                <a:cs typeface="Times New Roman" panose="02020603050405020304" pitchFamily="18" charset="0"/>
              </a:rPr>
              <a:t>Iterate and Reflect: </a:t>
            </a:r>
            <a:r>
              <a:rPr lang="en-US" sz="1600" dirty="0">
                <a:effectLst/>
                <a:latin typeface="+mj-lt"/>
                <a:ea typeface="MS Mincho" panose="02020609040205080304" pitchFamily="49" charset="-128"/>
                <a:cs typeface="Times New Roman" panose="02020603050405020304" pitchFamily="18" charset="0"/>
              </a:rPr>
              <a:t>Regularly review and refine your approach based on feedback and lessons learned.</a:t>
            </a:r>
            <a:br>
              <a:rPr lang="en-US" sz="1600" dirty="0">
                <a:effectLst/>
                <a:latin typeface="+mj-lt"/>
                <a:ea typeface="MS Mincho" panose="02020609040205080304" pitchFamily="49" charset="-128"/>
                <a:cs typeface="Times New Roman" panose="02020603050405020304" pitchFamily="18" charset="0"/>
              </a:rPr>
            </a:br>
            <a:endParaRPr lang="en-US" sz="1100" dirty="0">
              <a:latin typeface="+mj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2EF6AA0-CE7F-1C65-F9C1-EA6BC8695FF0}"/>
              </a:ext>
            </a:extLst>
          </p:cNvPr>
          <p:cNvSpPr txBox="1"/>
          <p:nvPr/>
        </p:nvSpPr>
        <p:spPr>
          <a:xfrm>
            <a:off x="-34758" y="224959"/>
            <a:ext cx="392603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b="1" dirty="0">
                <a:effectLst/>
                <a:latin typeface="+mj-lt"/>
                <a:ea typeface="MS Mincho" panose="02020609040205080304" pitchFamily="49" charset="-128"/>
                <a:cs typeface="Times New Roman" panose="02020603050405020304" pitchFamily="18" charset="0"/>
              </a:rPr>
              <a:t>INTRODUCING DESIGN THINKING IN YOUR PROJEC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D8A3B28-801E-73CF-8F48-11361BAE800B}"/>
              </a:ext>
            </a:extLst>
          </p:cNvPr>
          <p:cNvSpPr txBox="1"/>
          <p:nvPr/>
        </p:nvSpPr>
        <p:spPr>
          <a:xfrm>
            <a:off x="4084320" y="224958"/>
            <a:ext cx="402336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b="1" dirty="0">
                <a:solidFill>
                  <a:schemeClr val="tx1"/>
                </a:solidFill>
                <a:latin typeface="+mj-lt"/>
                <a:ea typeface="MS Mincho" panose="02020609040205080304" pitchFamily="49" charset="-128"/>
                <a:cs typeface="Times New Roman" panose="02020603050405020304" pitchFamily="18" charset="0"/>
              </a:rPr>
              <a:t>TOOL &amp; TECHNIQUES FOR EFFECTIVE IMPLEMENTA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6449C12-3E83-0FD5-04AE-08920FBD55E8}"/>
              </a:ext>
            </a:extLst>
          </p:cNvPr>
          <p:cNvSpPr txBox="1"/>
          <p:nvPr/>
        </p:nvSpPr>
        <p:spPr>
          <a:xfrm>
            <a:off x="8215103" y="301580"/>
            <a:ext cx="40233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b="1" dirty="0">
                <a:solidFill>
                  <a:schemeClr val="bg1"/>
                </a:solidFill>
                <a:latin typeface="+mj-lt"/>
                <a:ea typeface="MS Mincho" panose="02020609040205080304" pitchFamily="49" charset="-128"/>
                <a:cs typeface="Times New Roman" panose="02020603050405020304" pitchFamily="18" charset="0"/>
              </a:rPr>
              <a:t>CHALLENGES AND SOLUTIONS</a:t>
            </a:r>
            <a:endParaRPr lang="en-GB" sz="1800" b="1" dirty="0">
              <a:solidFill>
                <a:schemeClr val="bg1"/>
              </a:solidFill>
              <a:latin typeface="+mj-lt"/>
              <a:ea typeface="MS Mincho" panose="02020609040205080304" pitchFamily="49" charset="-128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54083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548140-24C0-B646-8E82-5F287928DA9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17956E-D1D7-0946-BE71-6B7039C0D3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MANUELLA ASIANOA</a:t>
            </a:r>
          </a:p>
          <a:p>
            <a:r>
              <a:rPr lang="en-US" dirty="0"/>
              <a:t>IT PROJECT MANAGER</a:t>
            </a:r>
          </a:p>
          <a:p>
            <a:pPr lvl="1"/>
            <a:r>
              <a:rPr lang="en-US" dirty="0"/>
              <a:t>Manuella.asianoa@gmail.com</a:t>
            </a:r>
          </a:p>
        </p:txBody>
      </p:sp>
    </p:spTree>
    <p:extLst>
      <p:ext uri="{BB962C8B-B14F-4D97-AF65-F5344CB8AC3E}">
        <p14:creationId xmlns:p14="http://schemas.microsoft.com/office/powerpoint/2010/main" val="35032769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PMI_Palette">
      <a:dk1>
        <a:srgbClr val="000000"/>
      </a:dk1>
      <a:lt1>
        <a:srgbClr val="FFFFFF"/>
      </a:lt1>
      <a:dk2>
        <a:srgbClr val="C4C5C7"/>
      </a:dk2>
      <a:lt2>
        <a:srgbClr val="E7E6E6"/>
      </a:lt2>
      <a:accent1>
        <a:srgbClr val="FF610F"/>
      </a:accent1>
      <a:accent2>
        <a:srgbClr val="DD300B"/>
      </a:accent2>
      <a:accent3>
        <a:srgbClr val="FF9361"/>
      </a:accent3>
      <a:accent4>
        <a:srgbClr val="05BFE0"/>
      </a:accent4>
      <a:accent5>
        <a:srgbClr val="0080A8"/>
      </a:accent5>
      <a:accent6>
        <a:srgbClr val="59D3EB"/>
      </a:accent6>
      <a:hlink>
        <a:srgbClr val="4F17A8"/>
      </a:hlink>
      <a:folHlink>
        <a:srgbClr val="8A66C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MI_ARIAL_0912_2019" id="{70909711-29E3-694D-9CF1-B24B830544D2}" vid="{D1202B59-CE36-D24B-BAD5-608B33454A9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2F942E8DB801E49B476BCD21D80CA57" ma:contentTypeVersion="4" ma:contentTypeDescription="Create a new document." ma:contentTypeScope="" ma:versionID="be55edb8b329fc03d0843cc2aa8fb4b6">
  <xsd:schema xmlns:xsd="http://www.w3.org/2001/XMLSchema" xmlns:xs="http://www.w3.org/2001/XMLSchema" xmlns:p="http://schemas.microsoft.com/office/2006/metadata/properties" xmlns:ns2="e1e7ea6e-673f-40ae-a11d-1f24fe440446" targetNamespace="http://schemas.microsoft.com/office/2006/metadata/properties" ma:root="true" ma:fieldsID="f6bdc55c50e266cde13c6395ba08bde4" ns2:_="">
    <xsd:import namespace="e1e7ea6e-673f-40ae-a11d-1f24fe44044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e7ea6e-673f-40ae-a11d-1f24fe44044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D3098AA-BF0C-4CED-8566-FD1712F25A74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e1e7ea6e-673f-40ae-a11d-1f24fe440446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931775E-FD77-4D1E-9938-F4D5A3D3C8C0}">
  <ds:schemaRefs>
    <ds:schemaRef ds:uri="http://schemas.microsoft.com/office/2006/documentManagement/types"/>
    <ds:schemaRef ds:uri="http://purl.org/dc/dcmitype/"/>
    <ds:schemaRef ds:uri="http://purl.org/dc/elements/1.1/"/>
    <ds:schemaRef ds:uri="http://schemas.microsoft.com/office/2006/metadata/properties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e1e7ea6e-673f-40ae-a11d-1f24fe440446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E4D89B0-F33E-4435-9D55-538510AC3D4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MI_ARIAL_0912_2019</Template>
  <TotalTime>1582</TotalTime>
  <Words>961</Words>
  <Application>Microsoft Office PowerPoint</Application>
  <PresentationFormat>Widescreen</PresentationFormat>
  <Paragraphs>115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Arial</vt:lpstr>
      <vt:lpstr>Calibri</vt:lpstr>
      <vt:lpstr>Cambria</vt:lpstr>
      <vt:lpstr>GT Pressura Mono</vt:lpstr>
      <vt:lpstr>MTN Brighter Sans ExtraBold</vt:lpstr>
      <vt:lpstr>MTN Brighter Sans Light</vt:lpstr>
      <vt:lpstr>System Font Regular</vt:lpstr>
      <vt:lpstr>Wingdings</vt:lpstr>
      <vt:lpstr>Office Theme</vt:lpstr>
      <vt:lpstr>think-cell Slide</vt:lpstr>
      <vt:lpstr>EMBRACING DESIGN THINKING</vt:lpstr>
      <vt:lpstr>Key Points for discussion</vt:lpstr>
      <vt:lpstr>Understanding Design Thinking</vt:lpstr>
      <vt:lpstr>Key Stages of Design Thinking</vt:lpstr>
      <vt:lpstr>Applying Design Thinking to Project Management</vt:lpstr>
      <vt:lpstr>The synergy between Design Thinking &amp; Agile and Waterfall Approaches</vt:lpstr>
      <vt:lpstr>Benefits of Design Thinking in Project Mgt</vt:lpstr>
      <vt:lpstr>PowerPoint Presentation</vt:lpstr>
      <vt:lpstr>Thank you</vt:lpstr>
    </vt:vector>
  </TitlesOfParts>
  <Company>Project Management Institu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Ryan Brooks</dc:creator>
  <cp:lastModifiedBy>Manuella Asianoa</cp:lastModifiedBy>
  <cp:revision>21</cp:revision>
  <cp:lastPrinted>2019-09-11T19:09:11Z</cp:lastPrinted>
  <dcterms:created xsi:type="dcterms:W3CDTF">2019-09-17T13:44:44Z</dcterms:created>
  <dcterms:modified xsi:type="dcterms:W3CDTF">2024-07-23T18:06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F942E8DB801E49B476BCD21D80CA57</vt:lpwstr>
  </property>
</Properties>
</file>